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1420" r:id="rId5"/>
    <p:sldId id="3419" r:id="rId6"/>
    <p:sldId id="3431" r:id="rId7"/>
    <p:sldId id="3434" r:id="rId8"/>
    <p:sldId id="3435" r:id="rId9"/>
    <p:sldId id="3436" r:id="rId10"/>
    <p:sldId id="3437" r:id="rId11"/>
    <p:sldId id="3438" r:id="rId12"/>
    <p:sldId id="3439" r:id="rId13"/>
    <p:sldId id="3443" r:id="rId14"/>
    <p:sldId id="3441" r:id="rId15"/>
    <p:sldId id="3432" r:id="rId16"/>
    <p:sldId id="3442" r:id="rId17"/>
  </p:sldIdLst>
  <p:sldSz cx="12192000" cy="6858000"/>
  <p:notesSz cx="6858000" cy="9144000"/>
  <p:custDataLst>
    <p:tags r:id="rId20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C0E83F-732D-D84B-958E-49F765B3AAB6}">
          <p14:sldIdLst>
            <p14:sldId id="1420"/>
            <p14:sldId id="3419"/>
            <p14:sldId id="3431"/>
            <p14:sldId id="3434"/>
            <p14:sldId id="3435"/>
            <p14:sldId id="3436"/>
            <p14:sldId id="3437"/>
            <p14:sldId id="3438"/>
            <p14:sldId id="3439"/>
            <p14:sldId id="3443"/>
            <p14:sldId id="3441"/>
            <p14:sldId id="3432"/>
            <p14:sldId id="344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049"/>
    <a:srgbClr val="333657"/>
    <a:srgbClr val="8D8EA8"/>
    <a:srgbClr val="C9CAE1"/>
    <a:srgbClr val="4C4D6C"/>
    <a:srgbClr val="8D8EA7"/>
    <a:srgbClr val="024049"/>
    <a:srgbClr val="393838"/>
    <a:srgbClr val="00444C"/>
    <a:srgbClr val="0041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44"/>
    <p:restoredTop sz="94799"/>
  </p:normalViewPr>
  <p:slideViewPr>
    <p:cSldViewPr snapToGrid="0">
      <p:cViewPr varScale="1">
        <p:scale>
          <a:sx n="215" d="100"/>
          <a:sy n="215" d="100"/>
        </p:scale>
        <p:origin x="2576" y="192"/>
      </p:cViewPr>
      <p:guideLst>
        <p:guide orient="horz" pos="2205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026" y="20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6C3EA9E-6BDC-4A79-AFF7-99C44CB824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7F4F1B-A484-48CA-949E-C54FAD24ACD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440642-083C-45F1-96AE-6C40D1428CD6}" type="datetimeFigureOut">
              <a:rPr lang="en-GB" smtClean="0"/>
              <a:t>25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5FCCD8-E031-4ADB-97E6-0462DC70D0F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34311C-44CC-49A8-A38C-3C038F9763D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2F52F-549D-4565-87BA-A1055EB5BA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3889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E2F1A5-1147-44AA-941C-401C9E3002E6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Modifica gli stili del testo dello schema</a:t>
            </a:r>
          </a:p>
          <a:p>
            <a:pPr lvl="1"/>
            <a:r>
              <a:rPr lang="en-US"/>
              <a:t>Secondo livello</a:t>
            </a:r>
          </a:p>
          <a:p>
            <a:pPr lvl="2"/>
            <a:r>
              <a:rPr lang="en-US"/>
              <a:t>Terzo livello</a:t>
            </a:r>
          </a:p>
          <a:p>
            <a:pPr lvl="3"/>
            <a:r>
              <a:rPr lang="en-US"/>
              <a:t>Quarto livello</a:t>
            </a:r>
          </a:p>
          <a:p>
            <a:pPr lvl="4"/>
            <a:r>
              <a:rPr lang="en-US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F3249D-E364-4AF9-8113-7FC01C784A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644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594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8779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80447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027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PURPLE%20GREY/%3E%20Purple%20Grey/16-9/Purple-Grey-Reply-Gradients_Purple-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One">
    <p:bg>
      <p:bgPr>
        <a:solidFill>
          <a:srgbClr val="8D8E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637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7C87215-8867-4408-8D53-79F024BB10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4B4384-FA9E-41EC-A943-404A58D6FB9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D6CF0610-B499-0649-9BA4-DD2413042F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08" y="6284667"/>
            <a:ext cx="1547997" cy="3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997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06A10-8F0C-4B96-8F0F-38986ED53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0477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06A10-8F0C-4B96-8F0F-38986ED53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7A1DBF-AD07-4E04-96CF-3D15977685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1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5" name="Segnaposto numero diapositiva 5">
            <a:extLst>
              <a:ext uri="{FF2B5EF4-FFF2-40B4-BE49-F238E27FC236}">
                <a16:creationId xmlns:a16="http://schemas.microsoft.com/office/drawing/2014/main" id="{AF3DB202-8DE1-4A0F-A783-A1F0A4DA16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3117" y="6356352"/>
            <a:ext cx="2743200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66009-6E5A-4F8C-8CA7-E37AFBF5FB92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Inhaltsplatzhalter 35">
            <a:extLst>
              <a:ext uri="{FF2B5EF4-FFF2-40B4-BE49-F238E27FC236}">
                <a16:creationId xmlns:a16="http://schemas.microsoft.com/office/drawing/2014/main" id="{7E990F5F-C9D7-47BA-8AEC-1DC95FB09B5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682" y="6028266"/>
            <a:ext cx="11460635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>
              <a:spcBef>
                <a:spcPts val="200"/>
              </a:spcBef>
              <a:defRPr lang="de-DE" sz="1200" b="0" i="1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Source: 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115D5E09-1E48-4E0E-82C0-2E1B99C3C405}"/>
              </a:ext>
            </a:extLst>
          </p:cNvPr>
          <p:cNvSpPr>
            <a:spLocks noChangeAspect="1"/>
          </p:cNvSpPr>
          <p:nvPr userDrawn="1"/>
        </p:nvSpPr>
        <p:spPr bwMode="gray">
          <a:xfrm flipH="1">
            <a:off x="10306049" y="0"/>
            <a:ext cx="1885950" cy="9432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solidFill>
            <a:srgbClr val="02404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eaLnBrk="1">
              <a:defRPr/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B7C09E-2209-40FC-8B57-708E1E3ECC1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365681" y="1716195"/>
            <a:ext cx="11460635" cy="4205788"/>
          </a:xfrm>
          <a:prstGeom prst="rect">
            <a:avLst/>
          </a:prstGeom>
        </p:spPr>
        <p:txBody>
          <a:bodyPr lIns="0"/>
          <a:lstStyle>
            <a:lvl1pPr>
              <a:defRPr sz="1600" u="none">
                <a:solidFill>
                  <a:srgbClr val="333657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93F5916-D4AC-4CCB-B1D3-C3E23E7F75F0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4" name="Inhaltsplatzhalter 35">
            <a:extLst>
              <a:ext uri="{FF2B5EF4-FFF2-40B4-BE49-F238E27FC236}">
                <a16:creationId xmlns:a16="http://schemas.microsoft.com/office/drawing/2014/main" id="{5390D463-F6CC-43D7-81F0-CC42BBE0C8E0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365682" y="6356352"/>
            <a:ext cx="8607600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  <a:defRPr lang="de-DE" sz="1200" b="0" i="0" u="none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Machine Learning Reply | Client | Date</a:t>
            </a:r>
          </a:p>
        </p:txBody>
      </p:sp>
      <p:sp>
        <p:nvSpPr>
          <p:cNvPr id="13" name="Title Placeholder 54">
            <a:extLst>
              <a:ext uri="{FF2B5EF4-FFF2-40B4-BE49-F238E27FC236}">
                <a16:creationId xmlns:a16="http://schemas.microsoft.com/office/drawing/2014/main" id="{98BBD9EC-DDD9-43B6-A5EA-AE7AE77D3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65682" y="397932"/>
            <a:ext cx="9940367" cy="795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>
                <a:solidFill>
                  <a:srgbClr val="333657"/>
                </a:solidFill>
              </a:defRPr>
            </a:lvl1pPr>
          </a:lstStyle>
          <a:p>
            <a:pPr lvl="0"/>
            <a:r>
              <a:rPr lang="en-US" noProof="0" err="1"/>
              <a:t>Actiontitle</a:t>
            </a:r>
            <a:endParaRPr lang="en-US" noProof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056089C-AB0C-4C92-BC18-38F7A98A0B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682" y="90049"/>
            <a:ext cx="9939600" cy="2016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hapter name</a:t>
            </a:r>
          </a:p>
        </p:txBody>
      </p:sp>
      <p:pic>
        <p:nvPicPr>
          <p:cNvPr id="15" name="Immagine 6" descr="Machine Learning Reply - LOGO_White RGB.eps">
            <a:extLst>
              <a:ext uri="{FF2B5EF4-FFF2-40B4-BE49-F238E27FC236}">
                <a16:creationId xmlns:a16="http://schemas.microsoft.com/office/drawing/2014/main" id="{91DDA10E-413A-C741-A6FB-F652EFE745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694833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8256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FDB456A3-3A6E-4AFD-82C8-6A9415A55F8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D2D0884-AD60-D247-AC42-751E0455F764}"/>
              </a:ext>
            </a:extLst>
          </p:cNvPr>
          <p:cNvGrpSpPr/>
          <p:nvPr userDrawn="1"/>
        </p:nvGrpSpPr>
        <p:grpSpPr>
          <a:xfrm>
            <a:off x="9714966" y="0"/>
            <a:ext cx="2477032" cy="6858000"/>
            <a:chOff x="9714966" y="0"/>
            <a:chExt cx="2477032" cy="6858000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E5E8C14A-1EB8-4FD2-B83E-DB29F2CF9CBB}"/>
                </a:ext>
              </a:extLst>
            </p:cNvPr>
            <p:cNvSpPr/>
            <p:nvPr userDrawn="1"/>
          </p:nvSpPr>
          <p:spPr>
            <a:xfrm flipH="1">
              <a:off x="10343959" y="0"/>
              <a:ext cx="1848039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solidFill>
              <a:srgbClr val="333657"/>
            </a:solidFill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1059EA4-19F2-442E-A11A-9412621C239F}"/>
                </a:ext>
              </a:extLst>
            </p:cNvPr>
            <p:cNvSpPr/>
            <p:nvPr userDrawn="1"/>
          </p:nvSpPr>
          <p:spPr>
            <a:xfrm flipH="1">
              <a:off x="9714966" y="0"/>
              <a:ext cx="628994" cy="6858000"/>
            </a:xfrm>
            <a:prstGeom prst="triangle">
              <a:avLst>
                <a:gd name="adj" fmla="val 0"/>
              </a:avLst>
            </a:prstGeom>
            <a:solidFill>
              <a:srgbClr val="3336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E0EA06B-7E8D-4D37-BFFF-F7D390284924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46616876-ACCF-C74D-AAD7-8396BB59EA6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971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ov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2140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FDB456A3-3A6E-4AFD-82C8-6A9415A55F8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D2D0884-AD60-D247-AC42-751E0455F764}"/>
              </a:ext>
            </a:extLst>
          </p:cNvPr>
          <p:cNvGrpSpPr/>
          <p:nvPr userDrawn="1"/>
        </p:nvGrpSpPr>
        <p:grpSpPr>
          <a:xfrm>
            <a:off x="9714966" y="0"/>
            <a:ext cx="2477032" cy="6858000"/>
            <a:chOff x="9714966" y="0"/>
            <a:chExt cx="2477032" cy="685800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E5E8C14A-1EB8-4FD2-B83E-DB29F2CF9CBB}"/>
                </a:ext>
              </a:extLst>
            </p:cNvPr>
            <p:cNvSpPr/>
            <p:nvPr userDrawn="1"/>
          </p:nvSpPr>
          <p:spPr>
            <a:xfrm flipH="1">
              <a:off x="10343959" y="0"/>
              <a:ext cx="1848039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1059EA4-19F2-442E-A11A-9412621C239F}"/>
                </a:ext>
              </a:extLst>
            </p:cNvPr>
            <p:cNvSpPr/>
            <p:nvPr userDrawn="1"/>
          </p:nvSpPr>
          <p:spPr>
            <a:xfrm flipH="1">
              <a:off x="9714966" y="0"/>
              <a:ext cx="628994" cy="6858000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E0EA06B-7E8D-4D37-BFFF-F7D390284924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46616876-ACCF-C74D-AAD7-8396BB59EA6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956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592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AAA6F190-F849-4FCE-BB0B-478F68CE7E60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C9CAE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CC665A-643E-4063-A6D9-70D2C8D0D4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024049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8427B5B6-635D-457F-B6E7-F59AD6BBE7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024049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89D1B88-AF46-E547-AF0E-4FA57708B45D}"/>
              </a:ext>
            </a:extLst>
          </p:cNvPr>
          <p:cNvGrpSpPr/>
          <p:nvPr userDrawn="1"/>
        </p:nvGrpSpPr>
        <p:grpSpPr>
          <a:xfrm flipH="1">
            <a:off x="9714966" y="0"/>
            <a:ext cx="2477032" cy="6858000"/>
            <a:chOff x="9259184" y="0"/>
            <a:chExt cx="2313933" cy="6858000"/>
          </a:xfrm>
          <a:solidFill>
            <a:srgbClr val="024049"/>
          </a:solidFill>
        </p:grpSpPr>
        <p:sp>
          <p:nvSpPr>
            <p:cNvPr id="25" name="object 3">
              <a:extLst>
                <a:ext uri="{FF2B5EF4-FFF2-40B4-BE49-F238E27FC236}">
                  <a16:creationId xmlns:a16="http://schemas.microsoft.com/office/drawing/2014/main" id="{6F6F7C83-2C35-F940-B404-D49813AE72DA}"/>
                </a:ext>
              </a:extLst>
            </p:cNvPr>
            <p:cNvSpPr/>
            <p:nvPr userDrawn="1"/>
          </p:nvSpPr>
          <p:spPr>
            <a:xfrm>
              <a:off x="9259184" y="0"/>
              <a:ext cx="1726356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26" name="Isosceles Triangle 12">
              <a:extLst>
                <a:ext uri="{FF2B5EF4-FFF2-40B4-BE49-F238E27FC236}">
                  <a16:creationId xmlns:a16="http://schemas.microsoft.com/office/drawing/2014/main" id="{2646C5CA-8F40-CC40-B372-099DD5B5E6F2}"/>
                </a:ext>
              </a:extLst>
            </p:cNvPr>
            <p:cNvSpPr/>
            <p:nvPr userDrawn="1"/>
          </p:nvSpPr>
          <p:spPr>
            <a:xfrm>
              <a:off x="10985539" y="0"/>
              <a:ext cx="587578" cy="6858000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pic>
        <p:nvPicPr>
          <p:cNvPr id="30" name="Immagine 6" descr="Machine Learning Reply - LOGO_White RGB.eps">
            <a:extLst>
              <a:ext uri="{FF2B5EF4-FFF2-40B4-BE49-F238E27FC236}">
                <a16:creationId xmlns:a16="http://schemas.microsoft.com/office/drawing/2014/main" id="{17422738-416F-A947-8137-08D3AE5B499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600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pic>
        <p:nvPicPr>
          <p:cNvPr id="7" name="Immagine 6" descr="Machine Learning Reply - LOGO_White RGB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08" y="6284667"/>
            <a:ext cx="1547997" cy="384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6191745-1316-E644-B2AB-829A6B8C15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BB7F511-30AF-B147-B76D-C4BB41333F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</p:spTree>
    <p:extLst>
      <p:ext uri="{BB962C8B-B14F-4D97-AF65-F5344CB8AC3E}">
        <p14:creationId xmlns:p14="http://schemas.microsoft.com/office/powerpoint/2010/main" val="754675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478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333657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rgbClr val="333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C4C6A50-5379-4F24-A18D-F38529A8A8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5BF0887-B3C8-4AA5-A50C-0F9212A33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0E008E3D-2C31-3E44-B689-49F89BBCD1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619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895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C4C6A50-5379-4F24-A18D-F38529A8A8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5BF0887-B3C8-4AA5-A50C-0F9212A33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0E008E3D-2C31-3E44-B689-49F89BBCD1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821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7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C9CAE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24049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solidFill>
                <a:srgbClr val="024049"/>
              </a:solidFill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rgbClr val="024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>
              <a:solidFill>
                <a:srgbClr val="024049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E17DF5-7BCE-4D73-8414-59C813D8EA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024049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049C0A7-284F-47E4-A82A-287770A008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024049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22" name="Immagine 6" descr="Machine Learning Reply - LOGO_White RGB.eps">
            <a:extLst>
              <a:ext uri="{FF2B5EF4-FFF2-40B4-BE49-F238E27FC236}">
                <a16:creationId xmlns:a16="http://schemas.microsoft.com/office/drawing/2014/main" id="{0873479F-4369-0942-A8CF-6C17A85B23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727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06A10-8F0C-4B96-8F0F-38986ED53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6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06A10-8F0C-4B96-8F0F-38986ED53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7A1DBF-AD07-4E04-96CF-3D15977685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1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5" name="Segnaposto numero diapositiva 5">
            <a:extLst>
              <a:ext uri="{FF2B5EF4-FFF2-40B4-BE49-F238E27FC236}">
                <a16:creationId xmlns:a16="http://schemas.microsoft.com/office/drawing/2014/main" id="{AF3DB202-8DE1-4A0F-A783-A1F0A4DA16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3117" y="6356352"/>
            <a:ext cx="2743200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66009-6E5A-4F8C-8CA7-E37AFBF5FB92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itle Placeholder 54">
            <a:extLst>
              <a:ext uri="{FF2B5EF4-FFF2-40B4-BE49-F238E27FC236}">
                <a16:creationId xmlns:a16="http://schemas.microsoft.com/office/drawing/2014/main" id="{5887A63D-817F-4DC7-8CDA-56F79EC084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65682" y="397932"/>
            <a:ext cx="9940367" cy="795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pPr lvl="0"/>
            <a:r>
              <a:rPr lang="en-US" noProof="0"/>
              <a:t>Actiontitle</a:t>
            </a:r>
          </a:p>
        </p:txBody>
      </p:sp>
      <p:sp>
        <p:nvSpPr>
          <p:cNvPr id="28" name="Inhaltsplatzhalter 35">
            <a:extLst>
              <a:ext uri="{FF2B5EF4-FFF2-40B4-BE49-F238E27FC236}">
                <a16:creationId xmlns:a16="http://schemas.microsoft.com/office/drawing/2014/main" id="{7E990F5F-C9D7-47BA-8AEC-1DC95FB09B5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682" y="6028266"/>
            <a:ext cx="11460635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>
              <a:spcBef>
                <a:spcPts val="200"/>
              </a:spcBef>
              <a:defRPr lang="de-DE" sz="1200" b="0" i="1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Source: 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115D5E09-1E48-4E0E-82C0-2E1B99C3C405}"/>
              </a:ext>
            </a:extLst>
          </p:cNvPr>
          <p:cNvSpPr>
            <a:spLocks noChangeAspect="1"/>
          </p:cNvSpPr>
          <p:nvPr userDrawn="1"/>
        </p:nvSpPr>
        <p:spPr bwMode="gray">
          <a:xfrm flipH="1">
            <a:off x="10305282" y="0"/>
            <a:ext cx="1886717" cy="9432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eaLnBrk="1">
              <a:defRPr/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B7C09E-2209-40FC-8B57-708E1E3ECC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5681" y="1716195"/>
            <a:ext cx="11460635" cy="4205788"/>
          </a:xfrm>
          <a:prstGeom prst="rect">
            <a:avLst/>
          </a:prstGeom>
        </p:spPr>
        <p:txBody>
          <a:bodyPr lIns="0"/>
          <a:lstStyle>
            <a:lvl1pPr>
              <a:defRPr sz="1600" u="none"/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C02F74DA-7E83-4606-87CC-5EB5C7F133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682" y="90049"/>
            <a:ext cx="9939600" cy="2016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93F5916-D4AC-4CCB-B1D3-C3E23E7F75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4" name="Inhaltsplatzhalter 35">
            <a:extLst>
              <a:ext uri="{FF2B5EF4-FFF2-40B4-BE49-F238E27FC236}">
                <a16:creationId xmlns:a16="http://schemas.microsoft.com/office/drawing/2014/main" id="{5390D463-F6CC-43D7-81F0-CC42BBE0C8E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5682" y="6356352"/>
            <a:ext cx="8607600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  <a:defRPr lang="de-DE" sz="1200" b="0" i="0" u="none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Machine Learning Reply | Client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73C7907C-7BFF-EC4A-A558-C252C700CCF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61089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pos="234" userDrawn="1">
          <p15:clr>
            <a:srgbClr val="FBAE40"/>
          </p15:clr>
        </p15:guide>
        <p15:guide id="3" pos="7446" userDrawn="1">
          <p15:clr>
            <a:srgbClr val="FBAE40"/>
          </p15:clr>
        </p15:guide>
        <p15:guide id="5" orient="horz" pos="1071" userDrawn="1">
          <p15:clr>
            <a:srgbClr val="FBAE40"/>
          </p15:clr>
        </p15:guide>
        <p15:guide id="6" orient="horz" pos="3725" userDrawn="1">
          <p15:clr>
            <a:srgbClr val="FBAE40"/>
          </p15:clr>
        </p15:guide>
        <p15:guide id="7" orient="horz" pos="238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47F358-451E-49C3-8163-F9C911B7C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7345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15" imgH="416" progId="TCLayout.ActiveDocument.1">
                  <p:embed/>
                </p:oleObj>
              </mc:Choice>
              <mc:Fallback>
                <p:oleObj name="think-cell Folie" r:id="rId1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47F358-451E-49C3-8163-F9C911B7C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4BCBB1-4EA1-4F40-BA7B-FD3994190CF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03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7" r:id="rId2"/>
    <p:sldLayoutId id="2147483660" r:id="rId3"/>
    <p:sldLayoutId id="2147483658" r:id="rId4"/>
    <p:sldLayoutId id="2147483659" r:id="rId5"/>
    <p:sldLayoutId id="2147483655" r:id="rId6"/>
    <p:sldLayoutId id="2147483661" r:id="rId7"/>
    <p:sldLayoutId id="2147483653" r:id="rId8"/>
    <p:sldLayoutId id="2147483650" r:id="rId9"/>
    <p:sldLayoutId id="2147483654" r:id="rId10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rgbClr val="004149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lang="en-US" sz="1400" b="1" u="sng" kern="1200" noProof="0" dirty="0" smtClean="0">
          <a:solidFill>
            <a:srgbClr val="004149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2pPr>
      <a:lvl3pPr marL="177800" marR="0" indent="-1778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■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3pPr>
      <a:lvl4pPr marL="355600" marR="0" indent="-1778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–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4pPr>
      <a:lvl5pPr marL="534988" marR="0" indent="-174625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■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5" Type="http://schemas.openxmlformats.org/officeDocument/2006/relationships/image" Target="../media/image11.jpg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5" Type="http://schemas.openxmlformats.org/officeDocument/2006/relationships/image" Target="../media/image12.jpg"/><Relationship Id="rId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8.jp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F7B06-800F-CF40-8C41-3936E65890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veloping data pipelines with Azure synaps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05E49-D0D4-6044-BC04-D1F1F0484A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</a:t>
            </a:r>
            <a:r>
              <a:rPr lang="en-US" dirty="0" err="1"/>
              <a:t>Temi</a:t>
            </a:r>
            <a:r>
              <a:rPr lang="en-US" dirty="0"/>
              <a:t> | November 29, 2023</a:t>
            </a:r>
          </a:p>
        </p:txBody>
      </p:sp>
    </p:spTree>
    <p:extLst>
      <p:ext uri="{BB962C8B-B14F-4D97-AF65-F5344CB8AC3E}">
        <p14:creationId xmlns:p14="http://schemas.microsoft.com/office/powerpoint/2010/main" val="1525234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6C606883-20EE-7B42-BB51-92C3FF3F9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6C606883-20EE-7B42-BB51-92C3FF3F9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A9E659-5843-544E-A799-FB3DF95B7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E644E7-B5FB-584F-8E38-C21A43698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er Productivity Pipeline for Jira Git Table</a:t>
            </a:r>
          </a:p>
        </p:txBody>
      </p:sp>
      <p:pic>
        <p:nvPicPr>
          <p:cNvPr id="42" name="Content Placeholder 41">
            <a:extLst>
              <a:ext uri="{FF2B5EF4-FFF2-40B4-BE49-F238E27FC236}">
                <a16:creationId xmlns:a16="http://schemas.microsoft.com/office/drawing/2014/main" id="{42B778AE-171E-CEF0-2B60-18FDC3BD1AFB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42" y="2682733"/>
            <a:ext cx="11066116" cy="1282535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BD998B-EF92-BF49-847B-5577944B57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7E457C8-718F-2646-B555-9311878DF5B0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CE2A4F-63C3-2047-F649-9069F47420F3}"/>
              </a:ext>
            </a:extLst>
          </p:cNvPr>
          <p:cNvSpPr txBox="1"/>
          <p:nvPr/>
        </p:nvSpPr>
        <p:spPr>
          <a:xfrm>
            <a:off x="423056" y="1318980"/>
            <a:ext cx="1083475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en-GB" b="1" dirty="0">
                <a:solidFill>
                  <a:srgbClr val="161616"/>
                </a:solidFill>
              </a:rPr>
              <a:t>Notebook:</a:t>
            </a:r>
            <a:r>
              <a:rPr lang="en-GB" dirty="0">
                <a:solidFill>
                  <a:srgbClr val="161616"/>
                </a:solidFill>
              </a:rPr>
              <a:t> process the </a:t>
            </a:r>
            <a:r>
              <a:rPr lang="en-GB" b="1" dirty="0" err="1">
                <a:solidFill>
                  <a:srgbClr val="0070C0"/>
                </a:solidFill>
              </a:rPr>
              <a:t>jira_git_fact.</a:t>
            </a:r>
            <a:r>
              <a:rPr lang="en-GB" b="1" dirty="0" err="1">
                <a:solidFill>
                  <a:srgbClr val="FF0000"/>
                </a:solidFill>
              </a:rPr>
              <a:t>csv</a:t>
            </a:r>
            <a:r>
              <a:rPr lang="en-GB" b="1" dirty="0">
                <a:solidFill>
                  <a:srgbClr val="0070C0"/>
                </a:solidFill>
              </a:rPr>
              <a:t> </a:t>
            </a:r>
            <a:r>
              <a:rPr lang="en-GB" dirty="0">
                <a:solidFill>
                  <a:srgbClr val="161616"/>
                </a:solidFill>
              </a:rPr>
              <a:t>into </a:t>
            </a:r>
            <a:r>
              <a:rPr lang="en-GB" b="1" dirty="0" err="1">
                <a:solidFill>
                  <a:srgbClr val="0070C0"/>
                </a:solidFill>
              </a:rPr>
              <a:t>jira_git_fact.</a:t>
            </a:r>
            <a:r>
              <a:rPr lang="en-GB" b="1" dirty="0" err="1">
                <a:solidFill>
                  <a:srgbClr val="FF0000"/>
                </a:solidFill>
              </a:rPr>
              <a:t>parquet</a:t>
            </a:r>
            <a:endParaRPr lang="en-GB" b="1" dirty="0">
              <a:solidFill>
                <a:srgbClr val="FF0000"/>
              </a:solidFill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en-GB" b="1" dirty="0" err="1">
                <a:solidFill>
                  <a:srgbClr val="161616"/>
                </a:solidFill>
              </a:rPr>
              <a:t>CopyData</a:t>
            </a:r>
            <a:r>
              <a:rPr lang="en-GB" b="1" dirty="0">
                <a:solidFill>
                  <a:srgbClr val="161616"/>
                </a:solidFill>
              </a:rPr>
              <a:t>: </a:t>
            </a:r>
            <a:r>
              <a:rPr lang="en-GB" dirty="0">
                <a:solidFill>
                  <a:srgbClr val="161616"/>
                </a:solidFill>
              </a:rPr>
              <a:t>copy from </a:t>
            </a:r>
            <a:r>
              <a:rPr lang="en-GB" b="1" dirty="0" err="1">
                <a:solidFill>
                  <a:srgbClr val="0070C0"/>
                </a:solidFill>
              </a:rPr>
              <a:t>jira_git_fact.</a:t>
            </a:r>
            <a:r>
              <a:rPr lang="en-GB" b="1" dirty="0" err="1">
                <a:solidFill>
                  <a:srgbClr val="FF0000"/>
                </a:solidFill>
              </a:rPr>
              <a:t>parquet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dirty="0">
                <a:solidFill>
                  <a:srgbClr val="161616"/>
                </a:solidFill>
              </a:rPr>
              <a:t>into staging table </a:t>
            </a:r>
            <a:r>
              <a:rPr lang="en-GB" b="1" dirty="0">
                <a:solidFill>
                  <a:srgbClr val="161616"/>
                </a:solidFill>
              </a:rPr>
              <a:t>– </a:t>
            </a:r>
            <a:r>
              <a:rPr lang="en-GB" b="1" dirty="0" err="1">
                <a:solidFill>
                  <a:srgbClr val="FF0000"/>
                </a:solidFill>
              </a:rPr>
              <a:t>dwh_staging</a:t>
            </a:r>
            <a:r>
              <a:rPr lang="en-GB" b="1" dirty="0" err="1">
                <a:solidFill>
                  <a:srgbClr val="161616"/>
                </a:solidFill>
              </a:rPr>
              <a:t>.</a:t>
            </a:r>
            <a:r>
              <a:rPr lang="en-GB" b="1" dirty="0" err="1">
                <a:solidFill>
                  <a:srgbClr val="0070C0"/>
                </a:solidFill>
              </a:rPr>
              <a:t>jira_git_fact</a:t>
            </a:r>
            <a:endParaRPr lang="en-GB" b="1" dirty="0">
              <a:solidFill>
                <a:srgbClr val="161616"/>
              </a:solidFill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en-GB" b="1" dirty="0">
                <a:solidFill>
                  <a:srgbClr val="161616"/>
                </a:solidFill>
              </a:rPr>
              <a:t>Stored Procedure: </a:t>
            </a:r>
            <a:r>
              <a:rPr lang="en-GB" dirty="0">
                <a:solidFill>
                  <a:srgbClr val="161616"/>
                </a:solidFill>
              </a:rPr>
              <a:t>copy from </a:t>
            </a:r>
            <a:r>
              <a:rPr lang="en-GB" b="1" dirty="0" err="1">
                <a:solidFill>
                  <a:srgbClr val="FF0000"/>
                </a:solidFill>
              </a:rPr>
              <a:t>dwh_staging</a:t>
            </a:r>
            <a:r>
              <a:rPr lang="en-GB" b="1" dirty="0" err="1">
                <a:solidFill>
                  <a:srgbClr val="161616"/>
                </a:solidFill>
              </a:rPr>
              <a:t>.</a:t>
            </a:r>
            <a:r>
              <a:rPr lang="en-GB" b="1" dirty="0" err="1">
                <a:solidFill>
                  <a:srgbClr val="0070C0"/>
                </a:solidFill>
              </a:rPr>
              <a:t>jira_git_fact</a:t>
            </a:r>
            <a:r>
              <a:rPr lang="en-GB" b="1" dirty="0">
                <a:solidFill>
                  <a:srgbClr val="0070C0"/>
                </a:solidFill>
              </a:rPr>
              <a:t> </a:t>
            </a:r>
            <a:r>
              <a:rPr lang="en-GB" dirty="0"/>
              <a:t>into core table - </a:t>
            </a:r>
            <a:r>
              <a:rPr lang="en-GB" b="1" dirty="0" err="1">
                <a:solidFill>
                  <a:srgbClr val="FF0000"/>
                </a:solidFill>
              </a:rPr>
              <a:t>dwh_core</a:t>
            </a:r>
            <a:r>
              <a:rPr lang="en-GB" b="1" dirty="0" err="1">
                <a:solidFill>
                  <a:srgbClr val="0070C0"/>
                </a:solidFill>
              </a:rPr>
              <a:t>.jira_git_fact</a:t>
            </a:r>
            <a:endParaRPr lang="en-GB" b="1" dirty="0">
              <a:solidFill>
                <a:srgbClr val="16161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0128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6C606883-20EE-7B42-BB51-92C3FF3F9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6C606883-20EE-7B42-BB51-92C3FF3F9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A9E659-5843-544E-A799-FB3DF95B7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E644E7-B5FB-584F-8E38-C21A43698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ad CSV Pipeline for Developer and Project Tab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BD998B-EF92-BF49-847B-5577944B57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4" name="Content Placeholder 43" descr="Load CSV pipeline">
            <a:extLst>
              <a:ext uri="{FF2B5EF4-FFF2-40B4-BE49-F238E27FC236}">
                <a16:creationId xmlns:a16="http://schemas.microsoft.com/office/drawing/2014/main" id="{589B6FED-AC74-09EB-29F2-A8AB9386E2FF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21" y="2280221"/>
            <a:ext cx="11012958" cy="2310312"/>
          </a:xfrm>
        </p:spPr>
      </p:pic>
      <p:sp>
        <p:nvSpPr>
          <p:cNvPr id="45" name="Content Placeholder 44">
            <a:extLst>
              <a:ext uri="{FF2B5EF4-FFF2-40B4-BE49-F238E27FC236}">
                <a16:creationId xmlns:a16="http://schemas.microsoft.com/office/drawing/2014/main" id="{CC91B1E9-1F3D-2C30-E97B-0F4F1D36BF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BBDD1F3-988D-547A-AAB9-504042D9860F}"/>
              </a:ext>
            </a:extLst>
          </p:cNvPr>
          <p:cNvSpPr txBox="1"/>
          <p:nvPr/>
        </p:nvSpPr>
        <p:spPr>
          <a:xfrm>
            <a:off x="273133" y="1508584"/>
            <a:ext cx="1261159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en-GB" b="1" dirty="0" err="1">
                <a:solidFill>
                  <a:srgbClr val="161616"/>
                </a:solidFill>
              </a:rPr>
              <a:t>CopyData</a:t>
            </a:r>
            <a:r>
              <a:rPr lang="en-GB" b="1" dirty="0">
                <a:solidFill>
                  <a:srgbClr val="161616"/>
                </a:solidFill>
              </a:rPr>
              <a:t>: </a:t>
            </a:r>
            <a:r>
              <a:rPr lang="en-GB" dirty="0">
                <a:solidFill>
                  <a:srgbClr val="161616"/>
                </a:solidFill>
              </a:rPr>
              <a:t>copy from </a:t>
            </a:r>
            <a:r>
              <a:rPr lang="en-GB" b="1" dirty="0" err="1">
                <a:solidFill>
                  <a:srgbClr val="0070C0"/>
                </a:solidFill>
              </a:rPr>
              <a:t>developer_dimenson.</a:t>
            </a:r>
            <a:r>
              <a:rPr lang="en-GB" b="1" dirty="0" err="1">
                <a:solidFill>
                  <a:srgbClr val="FF0000"/>
                </a:solidFill>
              </a:rPr>
              <a:t>csv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dirty="0">
                <a:solidFill>
                  <a:srgbClr val="161616"/>
                </a:solidFill>
              </a:rPr>
              <a:t>into staging table </a:t>
            </a:r>
            <a:r>
              <a:rPr lang="en-GB" b="1" dirty="0">
                <a:solidFill>
                  <a:srgbClr val="161616"/>
                </a:solidFill>
              </a:rPr>
              <a:t>– </a:t>
            </a:r>
            <a:r>
              <a:rPr lang="en-GB" b="1" dirty="0" err="1">
                <a:solidFill>
                  <a:srgbClr val="FF0000"/>
                </a:solidFill>
              </a:rPr>
              <a:t>dwh_staging</a:t>
            </a:r>
            <a:r>
              <a:rPr lang="en-GB" b="1" dirty="0" err="1">
                <a:solidFill>
                  <a:srgbClr val="161616"/>
                </a:solidFill>
              </a:rPr>
              <a:t>.</a:t>
            </a:r>
            <a:r>
              <a:rPr lang="en-GB" b="1" dirty="0" err="1">
                <a:solidFill>
                  <a:srgbClr val="0070C0"/>
                </a:solidFill>
              </a:rPr>
              <a:t>developer_dimension</a:t>
            </a:r>
            <a:endParaRPr lang="en-GB" b="1" dirty="0">
              <a:solidFill>
                <a:srgbClr val="161616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GB" b="1" dirty="0">
                <a:solidFill>
                  <a:srgbClr val="161616"/>
                </a:solidFill>
              </a:rPr>
              <a:t>Stored Procedure: </a:t>
            </a:r>
            <a:r>
              <a:rPr lang="en-GB" dirty="0">
                <a:solidFill>
                  <a:srgbClr val="161616"/>
                </a:solidFill>
              </a:rPr>
              <a:t>copy from </a:t>
            </a:r>
            <a:r>
              <a:rPr lang="en-GB" b="1" dirty="0" err="1">
                <a:solidFill>
                  <a:srgbClr val="FF0000"/>
                </a:solidFill>
              </a:rPr>
              <a:t>dwh_staging</a:t>
            </a:r>
            <a:r>
              <a:rPr lang="en-GB" b="1" dirty="0" err="1">
                <a:solidFill>
                  <a:srgbClr val="161616"/>
                </a:solidFill>
              </a:rPr>
              <a:t>.</a:t>
            </a:r>
            <a:r>
              <a:rPr lang="en-GB" b="1" dirty="0" err="1">
                <a:solidFill>
                  <a:srgbClr val="0070C0"/>
                </a:solidFill>
              </a:rPr>
              <a:t>developer_dimension</a:t>
            </a:r>
            <a:r>
              <a:rPr lang="en-GB" b="1" dirty="0">
                <a:solidFill>
                  <a:srgbClr val="161616"/>
                </a:solidFill>
              </a:rPr>
              <a:t> </a:t>
            </a:r>
            <a:r>
              <a:rPr lang="en-GB" dirty="0"/>
              <a:t>into core table - </a:t>
            </a:r>
            <a:r>
              <a:rPr lang="en-GB" b="1" dirty="0" err="1">
                <a:solidFill>
                  <a:srgbClr val="FF0000"/>
                </a:solidFill>
              </a:rPr>
              <a:t>dwh_core</a:t>
            </a:r>
            <a:r>
              <a:rPr lang="en-GB" b="1" dirty="0" err="1">
                <a:solidFill>
                  <a:srgbClr val="161616"/>
                </a:solidFill>
              </a:rPr>
              <a:t>.</a:t>
            </a:r>
            <a:r>
              <a:rPr lang="en-GB" b="1" dirty="0" err="1">
                <a:solidFill>
                  <a:srgbClr val="0070C0"/>
                </a:solidFill>
              </a:rPr>
              <a:t>developer_dimension</a:t>
            </a:r>
            <a:endParaRPr lang="en-GB" b="1" dirty="0">
              <a:solidFill>
                <a:srgbClr val="161616"/>
              </a:solidFill>
            </a:endParaRPr>
          </a:p>
          <a:p>
            <a:pPr marL="342900" indent="-342900" algn="l">
              <a:buFont typeface="+mj-lt"/>
              <a:buAutoNum type="arabicPeriod"/>
            </a:pPr>
            <a:endParaRPr lang="en-GB" b="1" dirty="0">
              <a:solidFill>
                <a:srgbClr val="16161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384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77FC2D-BE50-314C-B007-C9C3A7650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0D2D1C-ED30-B749-8A47-9966BDE3CA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ad CSV Pipeline Paramete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6BD974-C186-1849-97D2-B813C65C950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3EDD16-33DC-CE41-8951-6031205F26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5F4647B-017F-1C4A-82DF-255C5E3F84D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9" name="Table 3">
            <a:extLst>
              <a:ext uri="{FF2B5EF4-FFF2-40B4-BE49-F238E27FC236}">
                <a16:creationId xmlns:a16="http://schemas.microsoft.com/office/drawing/2014/main" id="{F33A0FA4-FDFF-F947-87B5-744F88724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9279963"/>
              </p:ext>
            </p:extLst>
          </p:nvPr>
        </p:nvGraphicFramePr>
        <p:xfrm>
          <a:off x="1012224" y="1716195"/>
          <a:ext cx="10010272" cy="25331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141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8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8078">
                  <a:extLst>
                    <a:ext uri="{9D8B030D-6E8A-4147-A177-3AD203B41FA5}">
                      <a16:colId xmlns:a16="http://schemas.microsoft.com/office/drawing/2014/main" val="1753856712"/>
                    </a:ext>
                  </a:extLst>
                </a:gridCol>
              </a:tblGrid>
              <a:tr h="4984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+mn-lt"/>
                          <a:cs typeface="Arial" charset="0"/>
                        </a:rPr>
                        <a:t>PARAMETER NAME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+mn-lt"/>
                          <a:cs typeface="Arial" charset="0"/>
                        </a:rPr>
                        <a:t>DEVELOPER_DIM_VALUES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PROJECT DIM VALUES</a:t>
                      </a:r>
                      <a:endParaRPr lang="ko-KR" altLang="en-US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svFolder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onze/</a:t>
                      </a: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er_dim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>
                          <a:effectLst/>
                        </a:rPr>
                        <a:t>bronze/</a:t>
                      </a:r>
                      <a:r>
                        <a:rPr lang="en-GB" dirty="0" err="1">
                          <a:effectLst/>
                        </a:rPr>
                        <a:t>project_dim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svFileName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er_dimension.csv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_dimension.csv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gingStoredProcedure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 err="1">
                          <a:effectLst/>
                        </a:rPr>
                        <a:t>dwh.empty_staging_tables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 err="1">
                          <a:effectLst/>
                        </a:rPr>
                        <a:t>dwh.empty_staging_tables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eStoredProcedure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wh.load_core_developer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wh.load_core_project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gingTableName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 err="1">
                          <a:effectLst/>
                        </a:rPr>
                        <a:t>developer_dimension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_dimension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29307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7F49EF74-1FA2-E34F-907D-A98BF34FF4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1BA8D1-EE4B-F444-94C1-F2135D9537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0102456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88F44-9B00-4F63-923A-FD02DAA6EC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F10D06-7410-4023-B61D-17EE9BD43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GB" smtClean="0"/>
              <a:t>2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7FFD8BF-2199-4BBE-A79B-25EA8306DE3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82254532-D528-4FEA-B34E-BF8107599C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RBContent58">
            <a:extLst>
              <a:ext uri="{FF2B5EF4-FFF2-40B4-BE49-F238E27FC236}">
                <a16:creationId xmlns:a16="http://schemas.microsoft.com/office/drawing/2014/main" id="{E22E56F2-31AA-4CDB-ABDC-D92A06DB25A5}"/>
              </a:ext>
            </a:extLst>
          </p:cNvPr>
          <p:cNvSpPr txBox="1">
            <a:spLocks/>
          </p:cNvSpPr>
          <p:nvPr/>
        </p:nvSpPr>
        <p:spPr>
          <a:xfrm>
            <a:off x="365681" y="2488728"/>
            <a:ext cx="10382401" cy="187743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Big Data Integration with Azure Synapse</a:t>
            </a:r>
          </a:p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Synapse Features</a:t>
            </a:r>
          </a:p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Pipeline Components</a:t>
            </a:r>
          </a:p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ETL Pipeline Demo – Developer Productivity Tracking</a:t>
            </a:r>
          </a:p>
        </p:txBody>
      </p:sp>
      <p:sp>
        <p:nvSpPr>
          <p:cNvPr id="17" name="RBContent58">
            <a:extLst>
              <a:ext uri="{FF2B5EF4-FFF2-40B4-BE49-F238E27FC236}">
                <a16:creationId xmlns:a16="http://schemas.microsoft.com/office/drawing/2014/main" id="{0C8D50A0-54C6-41FC-910F-F35EB182DDC6}"/>
              </a:ext>
            </a:extLst>
          </p:cNvPr>
          <p:cNvSpPr txBox="1">
            <a:spLocks/>
          </p:cNvSpPr>
          <p:nvPr/>
        </p:nvSpPr>
        <p:spPr>
          <a:xfrm>
            <a:off x="365681" y="1919786"/>
            <a:ext cx="1035552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en-GB" b="1"/>
              <a:t>Content</a:t>
            </a:r>
            <a:endParaRPr lang="en-GB" b="1">
              <a:sym typeface="+mn-lt"/>
            </a:endParaRPr>
          </a:p>
        </p:txBody>
      </p:sp>
      <p:sp>
        <p:nvSpPr>
          <p:cNvPr id="18" name="RBContent58">
            <a:extLst>
              <a:ext uri="{FF2B5EF4-FFF2-40B4-BE49-F238E27FC236}">
                <a16:creationId xmlns:a16="http://schemas.microsoft.com/office/drawing/2014/main" id="{5F3C3A19-9BC3-46F5-9D8D-A225A280E780}"/>
              </a:ext>
            </a:extLst>
          </p:cNvPr>
          <p:cNvSpPr txBox="1">
            <a:spLocks/>
          </p:cNvSpPr>
          <p:nvPr/>
        </p:nvSpPr>
        <p:spPr>
          <a:xfrm>
            <a:off x="11197166" y="1919786"/>
            <a:ext cx="630915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en-GB" b="1">
                <a:sym typeface="+mn-lt"/>
              </a:rPr>
              <a:t>Page</a:t>
            </a:r>
            <a:endParaRPr lang="en-GB" b="1">
              <a:latin typeface="+mn-lt"/>
              <a:sym typeface="+mn-lt"/>
            </a:endParaRPr>
          </a:p>
        </p:txBody>
      </p:sp>
      <p:sp>
        <p:nvSpPr>
          <p:cNvPr id="19" name="RBContent58">
            <a:extLst>
              <a:ext uri="{FF2B5EF4-FFF2-40B4-BE49-F238E27FC236}">
                <a16:creationId xmlns:a16="http://schemas.microsoft.com/office/drawing/2014/main" id="{C0DB1D66-737D-4AA5-92DF-43E34902D0F1}"/>
              </a:ext>
            </a:extLst>
          </p:cNvPr>
          <p:cNvSpPr txBox="1">
            <a:spLocks/>
          </p:cNvSpPr>
          <p:nvPr/>
        </p:nvSpPr>
        <p:spPr>
          <a:xfrm>
            <a:off x="11195403" y="2488728"/>
            <a:ext cx="630914" cy="187743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>
              <a:spcAft>
                <a:spcPts val="2000"/>
              </a:spcAft>
            </a:pPr>
            <a:r>
              <a:rPr lang="en-GB" dirty="0"/>
              <a:t>3</a:t>
            </a:r>
          </a:p>
          <a:p>
            <a:pPr algn="r">
              <a:spcAft>
                <a:spcPts val="2000"/>
              </a:spcAft>
            </a:pPr>
            <a:r>
              <a:rPr lang="en-GB" dirty="0"/>
              <a:t>4</a:t>
            </a:r>
          </a:p>
          <a:p>
            <a:pPr algn="r">
              <a:spcAft>
                <a:spcPts val="2000"/>
              </a:spcAft>
            </a:pPr>
            <a:r>
              <a:rPr lang="en-GB" dirty="0"/>
              <a:t>5</a:t>
            </a:r>
          </a:p>
          <a:p>
            <a:pPr algn="r">
              <a:spcAft>
                <a:spcPts val="2000"/>
              </a:spcAft>
            </a:pPr>
            <a:r>
              <a:rPr lang="en-GB" dirty="0"/>
              <a:t>8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43B2C0-B434-F3E4-E75C-D91793323D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655138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EBA44F-AF1C-BA46-AF45-F5E6D457BD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EBA44F-AF1C-BA46-AF45-F5E6D457B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D39488-287F-164C-A695-E3CDB49A0C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CDF4F9-A8EE-2C4F-A0F1-9EBEBB938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g Data Integration </a:t>
            </a:r>
            <a:r>
              <a:rPr lang="de-DE" dirty="0" err="1"/>
              <a:t>with</a:t>
            </a:r>
            <a:r>
              <a:rPr lang="de-DE" dirty="0"/>
              <a:t> Azure Synapse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E62E84-0186-054E-BB86-0B23225A5E6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61F3D0-4A86-724C-BFAE-7DE9CAB480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DD75FB4-CD40-8845-9B35-B0F5A661B64E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E2F5DB2-31A3-704F-A11E-853EE7EB25DA}"/>
              </a:ext>
            </a:extLst>
          </p:cNvPr>
          <p:cNvGrpSpPr/>
          <p:nvPr/>
        </p:nvGrpSpPr>
        <p:grpSpPr>
          <a:xfrm>
            <a:off x="598106" y="1695373"/>
            <a:ext cx="11228211" cy="4364261"/>
            <a:chOff x="47349" y="1750924"/>
            <a:chExt cx="10255748" cy="447835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751C6A-8BA7-144E-90B0-1FC9ACE93AB8}"/>
                </a:ext>
              </a:extLst>
            </p:cNvPr>
            <p:cNvGrpSpPr/>
            <p:nvPr/>
          </p:nvGrpSpPr>
          <p:grpSpPr>
            <a:xfrm>
              <a:off x="2639618" y="1916832"/>
              <a:ext cx="4971181" cy="4041850"/>
              <a:chOff x="1914525" y="1276351"/>
              <a:chExt cx="5333999" cy="4336841"/>
            </a:xfrm>
          </p:grpSpPr>
          <p:sp>
            <p:nvSpPr>
              <p:cNvPr id="10" name="Freeform 3">
                <a:extLst>
                  <a:ext uri="{FF2B5EF4-FFF2-40B4-BE49-F238E27FC236}">
                    <a16:creationId xmlns:a16="http://schemas.microsoft.com/office/drawing/2014/main" id="{68B42C98-27B7-6F43-882B-88EE88A2B01E}"/>
                  </a:ext>
                </a:extLst>
              </p:cNvPr>
              <p:cNvSpPr/>
              <p:nvPr/>
            </p:nvSpPr>
            <p:spPr>
              <a:xfrm>
                <a:off x="3587126" y="1400175"/>
                <a:ext cx="3661398" cy="3028950"/>
              </a:xfrm>
              <a:custGeom>
                <a:avLst/>
                <a:gdLst>
                  <a:gd name="connsiteX0" fmla="*/ 3695700 w 3695700"/>
                  <a:gd name="connsiteY0" fmla="*/ 0 h 3067050"/>
                  <a:gd name="connsiteX1" fmla="*/ 2667000 w 3695700"/>
                  <a:gd name="connsiteY1" fmla="*/ 733425 h 3067050"/>
                  <a:gd name="connsiteX2" fmla="*/ 2743200 w 3695700"/>
                  <a:gd name="connsiteY2" fmla="*/ 952500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724150 w 3695700"/>
                  <a:gd name="connsiteY1" fmla="*/ 790575 h 3067050"/>
                  <a:gd name="connsiteX2" fmla="*/ 2743200 w 3695700"/>
                  <a:gd name="connsiteY2" fmla="*/ 952500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657475 w 3695700"/>
                  <a:gd name="connsiteY1" fmla="*/ 809625 h 3067050"/>
                  <a:gd name="connsiteX2" fmla="*/ 2743200 w 3695700"/>
                  <a:gd name="connsiteY2" fmla="*/ 952500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657475 w 3695700"/>
                  <a:gd name="connsiteY1" fmla="*/ 809625 h 3067050"/>
                  <a:gd name="connsiteX2" fmla="*/ 2781300 w 3695700"/>
                  <a:gd name="connsiteY2" fmla="*/ 962025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657475 w 3695700"/>
                  <a:gd name="connsiteY1" fmla="*/ 809625 h 3067050"/>
                  <a:gd name="connsiteX2" fmla="*/ 2781300 w 3695700"/>
                  <a:gd name="connsiteY2" fmla="*/ 962025 h 3067050"/>
                  <a:gd name="connsiteX3" fmla="*/ 2314575 w 3695700"/>
                  <a:gd name="connsiteY3" fmla="*/ 122872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781300 w 3695700"/>
                  <a:gd name="connsiteY2" fmla="*/ 962025 h 3067050"/>
                  <a:gd name="connsiteX3" fmla="*/ 2314575 w 3695700"/>
                  <a:gd name="connsiteY3" fmla="*/ 122872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314575 w 3695700"/>
                  <a:gd name="connsiteY3" fmla="*/ 122872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657600 w 3695700"/>
                  <a:gd name="connsiteY15" fmla="*/ 2543175 h 3067050"/>
                  <a:gd name="connsiteX16" fmla="*/ 3562350 w 3695700"/>
                  <a:gd name="connsiteY16" fmla="*/ 252412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657600 w 3695700"/>
                  <a:gd name="connsiteY15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04800 w 3695700"/>
                  <a:gd name="connsiteY7" fmla="*/ 1466850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04800 w 3695700"/>
                  <a:gd name="connsiteY7" fmla="*/ 1466850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04800 w 3695700"/>
                  <a:gd name="connsiteY7" fmla="*/ 1466850 h 3067050"/>
                  <a:gd name="connsiteX8" fmla="*/ 381000 w 3695700"/>
                  <a:gd name="connsiteY8" fmla="*/ 1552575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48075 w 3648075"/>
                  <a:gd name="connsiteY0" fmla="*/ 0 h 3067050"/>
                  <a:gd name="connsiteX1" fmla="*/ 2390775 w 3648075"/>
                  <a:gd name="connsiteY1" fmla="*/ 962025 h 3067050"/>
                  <a:gd name="connsiteX2" fmla="*/ 2505075 w 3648075"/>
                  <a:gd name="connsiteY2" fmla="*/ 1085850 h 3067050"/>
                  <a:gd name="connsiteX3" fmla="*/ 2238375 w 3648075"/>
                  <a:gd name="connsiteY3" fmla="*/ 1247775 h 3067050"/>
                  <a:gd name="connsiteX4" fmla="*/ 2305050 w 3648075"/>
                  <a:gd name="connsiteY4" fmla="*/ 1362075 h 3067050"/>
                  <a:gd name="connsiteX5" fmla="*/ 1952625 w 3648075"/>
                  <a:gd name="connsiteY5" fmla="*/ 1590675 h 3067050"/>
                  <a:gd name="connsiteX6" fmla="*/ 1171575 w 3648075"/>
                  <a:gd name="connsiteY6" fmla="*/ 1371600 h 3067050"/>
                  <a:gd name="connsiteX7" fmla="*/ 333375 w 3648075"/>
                  <a:gd name="connsiteY7" fmla="*/ 1552575 h 3067050"/>
                  <a:gd name="connsiteX8" fmla="*/ 0 w 3648075"/>
                  <a:gd name="connsiteY8" fmla="*/ 2162175 h 3067050"/>
                  <a:gd name="connsiteX9" fmla="*/ 838200 w 3648075"/>
                  <a:gd name="connsiteY9" fmla="*/ 1990725 h 3067050"/>
                  <a:gd name="connsiteX10" fmla="*/ 1143000 w 3648075"/>
                  <a:gd name="connsiteY10" fmla="*/ 2019300 h 3067050"/>
                  <a:gd name="connsiteX11" fmla="*/ 2571750 w 3648075"/>
                  <a:gd name="connsiteY11" fmla="*/ 3067050 h 3067050"/>
                  <a:gd name="connsiteX12" fmla="*/ 3076575 w 3648075"/>
                  <a:gd name="connsiteY12" fmla="*/ 2609850 h 3067050"/>
                  <a:gd name="connsiteX13" fmla="*/ 3171825 w 3648075"/>
                  <a:gd name="connsiteY13" fmla="*/ 2686050 h 3067050"/>
                  <a:gd name="connsiteX14" fmla="*/ 3495675 w 3648075"/>
                  <a:gd name="connsiteY14" fmla="*/ 2466975 h 3067050"/>
                  <a:gd name="connsiteX0" fmla="*/ 3648075 w 3648075"/>
                  <a:gd name="connsiteY0" fmla="*/ 0 h 3067050"/>
                  <a:gd name="connsiteX1" fmla="*/ 2390775 w 3648075"/>
                  <a:gd name="connsiteY1" fmla="*/ 962025 h 3067050"/>
                  <a:gd name="connsiteX2" fmla="*/ 2505075 w 3648075"/>
                  <a:gd name="connsiteY2" fmla="*/ 1085850 h 3067050"/>
                  <a:gd name="connsiteX3" fmla="*/ 2238375 w 3648075"/>
                  <a:gd name="connsiteY3" fmla="*/ 1247775 h 3067050"/>
                  <a:gd name="connsiteX4" fmla="*/ 2305050 w 3648075"/>
                  <a:gd name="connsiteY4" fmla="*/ 1362075 h 3067050"/>
                  <a:gd name="connsiteX5" fmla="*/ 1952625 w 3648075"/>
                  <a:gd name="connsiteY5" fmla="*/ 1590675 h 3067050"/>
                  <a:gd name="connsiteX6" fmla="*/ 1171575 w 3648075"/>
                  <a:gd name="connsiteY6" fmla="*/ 1371600 h 3067050"/>
                  <a:gd name="connsiteX7" fmla="*/ 333375 w 3648075"/>
                  <a:gd name="connsiteY7" fmla="*/ 1552575 h 3067050"/>
                  <a:gd name="connsiteX8" fmla="*/ 0 w 3648075"/>
                  <a:gd name="connsiteY8" fmla="*/ 2162175 h 3067050"/>
                  <a:gd name="connsiteX9" fmla="*/ 838200 w 3648075"/>
                  <a:gd name="connsiteY9" fmla="*/ 1990725 h 3067050"/>
                  <a:gd name="connsiteX10" fmla="*/ 1143000 w 3648075"/>
                  <a:gd name="connsiteY10" fmla="*/ 2019300 h 3067050"/>
                  <a:gd name="connsiteX11" fmla="*/ 2571750 w 3648075"/>
                  <a:gd name="connsiteY11" fmla="*/ 3067050 h 3067050"/>
                  <a:gd name="connsiteX12" fmla="*/ 3076575 w 3648075"/>
                  <a:gd name="connsiteY12" fmla="*/ 2609850 h 3067050"/>
                  <a:gd name="connsiteX13" fmla="*/ 3171825 w 3648075"/>
                  <a:gd name="connsiteY13" fmla="*/ 2686050 h 3067050"/>
                  <a:gd name="connsiteX14" fmla="*/ 3495675 w 3648075"/>
                  <a:gd name="connsiteY14" fmla="*/ 2466975 h 3067050"/>
                  <a:gd name="connsiteX0" fmla="*/ 3660392 w 3660392"/>
                  <a:gd name="connsiteY0" fmla="*/ 0 h 3067050"/>
                  <a:gd name="connsiteX1" fmla="*/ 2403092 w 3660392"/>
                  <a:gd name="connsiteY1" fmla="*/ 962025 h 3067050"/>
                  <a:gd name="connsiteX2" fmla="*/ 2517392 w 3660392"/>
                  <a:gd name="connsiteY2" fmla="*/ 1085850 h 3067050"/>
                  <a:gd name="connsiteX3" fmla="*/ 2250692 w 3660392"/>
                  <a:gd name="connsiteY3" fmla="*/ 1247775 h 3067050"/>
                  <a:gd name="connsiteX4" fmla="*/ 2317367 w 3660392"/>
                  <a:gd name="connsiteY4" fmla="*/ 1362075 h 3067050"/>
                  <a:gd name="connsiteX5" fmla="*/ 1964942 w 3660392"/>
                  <a:gd name="connsiteY5" fmla="*/ 1590675 h 3067050"/>
                  <a:gd name="connsiteX6" fmla="*/ 1183892 w 3660392"/>
                  <a:gd name="connsiteY6" fmla="*/ 1371600 h 3067050"/>
                  <a:gd name="connsiteX7" fmla="*/ 345692 w 3660392"/>
                  <a:gd name="connsiteY7" fmla="*/ 1552575 h 3067050"/>
                  <a:gd name="connsiteX8" fmla="*/ 12317 w 3660392"/>
                  <a:gd name="connsiteY8" fmla="*/ 2162175 h 3067050"/>
                  <a:gd name="connsiteX9" fmla="*/ 850517 w 3660392"/>
                  <a:gd name="connsiteY9" fmla="*/ 1990725 h 3067050"/>
                  <a:gd name="connsiteX10" fmla="*/ 1155317 w 3660392"/>
                  <a:gd name="connsiteY10" fmla="*/ 2019300 h 3067050"/>
                  <a:gd name="connsiteX11" fmla="*/ 2584067 w 3660392"/>
                  <a:gd name="connsiteY11" fmla="*/ 3067050 h 3067050"/>
                  <a:gd name="connsiteX12" fmla="*/ 3088892 w 3660392"/>
                  <a:gd name="connsiteY12" fmla="*/ 2609850 h 3067050"/>
                  <a:gd name="connsiteX13" fmla="*/ 3184142 w 3660392"/>
                  <a:gd name="connsiteY13" fmla="*/ 2686050 h 3067050"/>
                  <a:gd name="connsiteX14" fmla="*/ 3507992 w 3660392"/>
                  <a:gd name="connsiteY14" fmla="*/ 2466975 h 3067050"/>
                  <a:gd name="connsiteX0" fmla="*/ 3661041 w 3661041"/>
                  <a:gd name="connsiteY0" fmla="*/ 0 h 3067050"/>
                  <a:gd name="connsiteX1" fmla="*/ 2403741 w 3661041"/>
                  <a:gd name="connsiteY1" fmla="*/ 962025 h 3067050"/>
                  <a:gd name="connsiteX2" fmla="*/ 2518041 w 3661041"/>
                  <a:gd name="connsiteY2" fmla="*/ 1085850 h 3067050"/>
                  <a:gd name="connsiteX3" fmla="*/ 2251341 w 3661041"/>
                  <a:gd name="connsiteY3" fmla="*/ 1247775 h 3067050"/>
                  <a:gd name="connsiteX4" fmla="*/ 2318016 w 3661041"/>
                  <a:gd name="connsiteY4" fmla="*/ 1362075 h 3067050"/>
                  <a:gd name="connsiteX5" fmla="*/ 1965591 w 3661041"/>
                  <a:gd name="connsiteY5" fmla="*/ 1590675 h 3067050"/>
                  <a:gd name="connsiteX6" fmla="*/ 1184541 w 3661041"/>
                  <a:gd name="connsiteY6" fmla="*/ 1371600 h 3067050"/>
                  <a:gd name="connsiteX7" fmla="*/ 346341 w 3661041"/>
                  <a:gd name="connsiteY7" fmla="*/ 1552575 h 3067050"/>
                  <a:gd name="connsiteX8" fmla="*/ 12966 w 3661041"/>
                  <a:gd name="connsiteY8" fmla="*/ 2162175 h 3067050"/>
                  <a:gd name="connsiteX9" fmla="*/ 813066 w 3661041"/>
                  <a:gd name="connsiteY9" fmla="*/ 1905000 h 3067050"/>
                  <a:gd name="connsiteX10" fmla="*/ 1155966 w 3661041"/>
                  <a:gd name="connsiteY10" fmla="*/ 2019300 h 3067050"/>
                  <a:gd name="connsiteX11" fmla="*/ 2584716 w 3661041"/>
                  <a:gd name="connsiteY11" fmla="*/ 3067050 h 3067050"/>
                  <a:gd name="connsiteX12" fmla="*/ 3089541 w 3661041"/>
                  <a:gd name="connsiteY12" fmla="*/ 2609850 h 3067050"/>
                  <a:gd name="connsiteX13" fmla="*/ 3184791 w 3661041"/>
                  <a:gd name="connsiteY13" fmla="*/ 2686050 h 3067050"/>
                  <a:gd name="connsiteX14" fmla="*/ 3508641 w 3661041"/>
                  <a:gd name="connsiteY14" fmla="*/ 2466975 h 3067050"/>
                  <a:gd name="connsiteX0" fmla="*/ 3662719 w 3662719"/>
                  <a:gd name="connsiteY0" fmla="*/ 0 h 3067050"/>
                  <a:gd name="connsiteX1" fmla="*/ 2405419 w 3662719"/>
                  <a:gd name="connsiteY1" fmla="*/ 962025 h 3067050"/>
                  <a:gd name="connsiteX2" fmla="*/ 2519719 w 3662719"/>
                  <a:gd name="connsiteY2" fmla="*/ 1085850 h 3067050"/>
                  <a:gd name="connsiteX3" fmla="*/ 2253019 w 3662719"/>
                  <a:gd name="connsiteY3" fmla="*/ 1247775 h 3067050"/>
                  <a:gd name="connsiteX4" fmla="*/ 2319694 w 3662719"/>
                  <a:gd name="connsiteY4" fmla="*/ 1362075 h 3067050"/>
                  <a:gd name="connsiteX5" fmla="*/ 1967269 w 3662719"/>
                  <a:gd name="connsiteY5" fmla="*/ 1590675 h 3067050"/>
                  <a:gd name="connsiteX6" fmla="*/ 1186219 w 3662719"/>
                  <a:gd name="connsiteY6" fmla="*/ 1371600 h 3067050"/>
                  <a:gd name="connsiteX7" fmla="*/ 348019 w 3662719"/>
                  <a:gd name="connsiteY7" fmla="*/ 1552575 h 3067050"/>
                  <a:gd name="connsiteX8" fmla="*/ 14644 w 3662719"/>
                  <a:gd name="connsiteY8" fmla="*/ 2162175 h 3067050"/>
                  <a:gd name="connsiteX9" fmla="*/ 814744 w 3662719"/>
                  <a:gd name="connsiteY9" fmla="*/ 1905000 h 3067050"/>
                  <a:gd name="connsiteX10" fmla="*/ 1157644 w 3662719"/>
                  <a:gd name="connsiteY10" fmla="*/ 2019300 h 3067050"/>
                  <a:gd name="connsiteX11" fmla="*/ 2586394 w 3662719"/>
                  <a:gd name="connsiteY11" fmla="*/ 3067050 h 3067050"/>
                  <a:gd name="connsiteX12" fmla="*/ 3091219 w 3662719"/>
                  <a:gd name="connsiteY12" fmla="*/ 2609850 h 3067050"/>
                  <a:gd name="connsiteX13" fmla="*/ 3186469 w 3662719"/>
                  <a:gd name="connsiteY13" fmla="*/ 2686050 h 3067050"/>
                  <a:gd name="connsiteX14" fmla="*/ 3510319 w 3662719"/>
                  <a:gd name="connsiteY14" fmla="*/ 2466975 h 3067050"/>
                  <a:gd name="connsiteX0" fmla="*/ 3663396 w 3663396"/>
                  <a:gd name="connsiteY0" fmla="*/ 0 h 3067050"/>
                  <a:gd name="connsiteX1" fmla="*/ 2406096 w 3663396"/>
                  <a:gd name="connsiteY1" fmla="*/ 962025 h 3067050"/>
                  <a:gd name="connsiteX2" fmla="*/ 2520396 w 3663396"/>
                  <a:gd name="connsiteY2" fmla="*/ 1085850 h 3067050"/>
                  <a:gd name="connsiteX3" fmla="*/ 2253696 w 3663396"/>
                  <a:gd name="connsiteY3" fmla="*/ 1247775 h 3067050"/>
                  <a:gd name="connsiteX4" fmla="*/ 2320371 w 3663396"/>
                  <a:gd name="connsiteY4" fmla="*/ 1362075 h 3067050"/>
                  <a:gd name="connsiteX5" fmla="*/ 1967946 w 3663396"/>
                  <a:gd name="connsiteY5" fmla="*/ 1590675 h 3067050"/>
                  <a:gd name="connsiteX6" fmla="*/ 1186896 w 3663396"/>
                  <a:gd name="connsiteY6" fmla="*/ 1371600 h 3067050"/>
                  <a:gd name="connsiteX7" fmla="*/ 348696 w 3663396"/>
                  <a:gd name="connsiteY7" fmla="*/ 1552575 h 3067050"/>
                  <a:gd name="connsiteX8" fmla="*/ 15321 w 3663396"/>
                  <a:gd name="connsiteY8" fmla="*/ 2162175 h 3067050"/>
                  <a:gd name="connsiteX9" fmla="*/ 786846 w 3663396"/>
                  <a:gd name="connsiteY9" fmla="*/ 1905000 h 3067050"/>
                  <a:gd name="connsiteX10" fmla="*/ 1158321 w 3663396"/>
                  <a:gd name="connsiteY10" fmla="*/ 2019300 h 3067050"/>
                  <a:gd name="connsiteX11" fmla="*/ 2587071 w 3663396"/>
                  <a:gd name="connsiteY11" fmla="*/ 3067050 h 3067050"/>
                  <a:gd name="connsiteX12" fmla="*/ 3091896 w 3663396"/>
                  <a:gd name="connsiteY12" fmla="*/ 2609850 h 3067050"/>
                  <a:gd name="connsiteX13" fmla="*/ 3187146 w 3663396"/>
                  <a:gd name="connsiteY13" fmla="*/ 2686050 h 3067050"/>
                  <a:gd name="connsiteX14" fmla="*/ 3510996 w 3663396"/>
                  <a:gd name="connsiteY14" fmla="*/ 2466975 h 3067050"/>
                  <a:gd name="connsiteX0" fmla="*/ 3661398 w 3661398"/>
                  <a:gd name="connsiteY0" fmla="*/ 0 h 3067050"/>
                  <a:gd name="connsiteX1" fmla="*/ 2404098 w 3661398"/>
                  <a:gd name="connsiteY1" fmla="*/ 962025 h 3067050"/>
                  <a:gd name="connsiteX2" fmla="*/ 2518398 w 3661398"/>
                  <a:gd name="connsiteY2" fmla="*/ 1085850 h 3067050"/>
                  <a:gd name="connsiteX3" fmla="*/ 2251698 w 3661398"/>
                  <a:gd name="connsiteY3" fmla="*/ 1247775 h 3067050"/>
                  <a:gd name="connsiteX4" fmla="*/ 2318373 w 3661398"/>
                  <a:gd name="connsiteY4" fmla="*/ 1362075 h 3067050"/>
                  <a:gd name="connsiteX5" fmla="*/ 1965948 w 3661398"/>
                  <a:gd name="connsiteY5" fmla="*/ 1590675 h 3067050"/>
                  <a:gd name="connsiteX6" fmla="*/ 1184898 w 3661398"/>
                  <a:gd name="connsiteY6" fmla="*/ 1371600 h 3067050"/>
                  <a:gd name="connsiteX7" fmla="*/ 346698 w 3661398"/>
                  <a:gd name="connsiteY7" fmla="*/ 1552575 h 3067050"/>
                  <a:gd name="connsiteX8" fmla="*/ 13323 w 3661398"/>
                  <a:gd name="connsiteY8" fmla="*/ 2162175 h 3067050"/>
                  <a:gd name="connsiteX9" fmla="*/ 784848 w 3661398"/>
                  <a:gd name="connsiteY9" fmla="*/ 1905000 h 3067050"/>
                  <a:gd name="connsiteX10" fmla="*/ 1156323 w 3661398"/>
                  <a:gd name="connsiteY10" fmla="*/ 2019300 h 3067050"/>
                  <a:gd name="connsiteX11" fmla="*/ 2585073 w 3661398"/>
                  <a:gd name="connsiteY11" fmla="*/ 3067050 h 3067050"/>
                  <a:gd name="connsiteX12" fmla="*/ 3089898 w 3661398"/>
                  <a:gd name="connsiteY12" fmla="*/ 2609850 h 3067050"/>
                  <a:gd name="connsiteX13" fmla="*/ 3185148 w 3661398"/>
                  <a:gd name="connsiteY13" fmla="*/ 2686050 h 3067050"/>
                  <a:gd name="connsiteX14" fmla="*/ 3508998 w 3661398"/>
                  <a:gd name="connsiteY14" fmla="*/ 2466975 h 3067050"/>
                  <a:gd name="connsiteX0" fmla="*/ 3661398 w 3661398"/>
                  <a:gd name="connsiteY0" fmla="*/ 0 h 3067050"/>
                  <a:gd name="connsiteX1" fmla="*/ 2404098 w 3661398"/>
                  <a:gd name="connsiteY1" fmla="*/ 962025 h 3067050"/>
                  <a:gd name="connsiteX2" fmla="*/ 2518398 w 3661398"/>
                  <a:gd name="connsiteY2" fmla="*/ 1085850 h 3067050"/>
                  <a:gd name="connsiteX3" fmla="*/ 2251698 w 3661398"/>
                  <a:gd name="connsiteY3" fmla="*/ 1247775 h 3067050"/>
                  <a:gd name="connsiteX4" fmla="*/ 2318373 w 3661398"/>
                  <a:gd name="connsiteY4" fmla="*/ 1362075 h 3067050"/>
                  <a:gd name="connsiteX5" fmla="*/ 1965948 w 3661398"/>
                  <a:gd name="connsiteY5" fmla="*/ 1590675 h 3067050"/>
                  <a:gd name="connsiteX6" fmla="*/ 1184898 w 3661398"/>
                  <a:gd name="connsiteY6" fmla="*/ 1371600 h 3067050"/>
                  <a:gd name="connsiteX7" fmla="*/ 346698 w 3661398"/>
                  <a:gd name="connsiteY7" fmla="*/ 1552575 h 3067050"/>
                  <a:gd name="connsiteX8" fmla="*/ 13323 w 3661398"/>
                  <a:gd name="connsiteY8" fmla="*/ 2162175 h 3067050"/>
                  <a:gd name="connsiteX9" fmla="*/ 784848 w 3661398"/>
                  <a:gd name="connsiteY9" fmla="*/ 1905000 h 3067050"/>
                  <a:gd name="connsiteX10" fmla="*/ 1156323 w 3661398"/>
                  <a:gd name="connsiteY10" fmla="*/ 2019300 h 3067050"/>
                  <a:gd name="connsiteX11" fmla="*/ 2585073 w 3661398"/>
                  <a:gd name="connsiteY11" fmla="*/ 3067050 h 3067050"/>
                  <a:gd name="connsiteX12" fmla="*/ 3089898 w 3661398"/>
                  <a:gd name="connsiteY12" fmla="*/ 2609850 h 3067050"/>
                  <a:gd name="connsiteX13" fmla="*/ 3185148 w 3661398"/>
                  <a:gd name="connsiteY13" fmla="*/ 2686050 h 3067050"/>
                  <a:gd name="connsiteX14" fmla="*/ 3508998 w 3661398"/>
                  <a:gd name="connsiteY14" fmla="*/ 2466975 h 3067050"/>
                  <a:gd name="connsiteX0" fmla="*/ 3661398 w 3661398"/>
                  <a:gd name="connsiteY0" fmla="*/ 0 h 3028950"/>
                  <a:gd name="connsiteX1" fmla="*/ 2404098 w 3661398"/>
                  <a:gd name="connsiteY1" fmla="*/ 962025 h 3028950"/>
                  <a:gd name="connsiteX2" fmla="*/ 2518398 w 3661398"/>
                  <a:gd name="connsiteY2" fmla="*/ 1085850 h 3028950"/>
                  <a:gd name="connsiteX3" fmla="*/ 2251698 w 3661398"/>
                  <a:gd name="connsiteY3" fmla="*/ 1247775 h 3028950"/>
                  <a:gd name="connsiteX4" fmla="*/ 2318373 w 3661398"/>
                  <a:gd name="connsiteY4" fmla="*/ 1362075 h 3028950"/>
                  <a:gd name="connsiteX5" fmla="*/ 1965948 w 3661398"/>
                  <a:gd name="connsiteY5" fmla="*/ 1590675 h 3028950"/>
                  <a:gd name="connsiteX6" fmla="*/ 1184898 w 3661398"/>
                  <a:gd name="connsiteY6" fmla="*/ 1371600 h 3028950"/>
                  <a:gd name="connsiteX7" fmla="*/ 346698 w 3661398"/>
                  <a:gd name="connsiteY7" fmla="*/ 1552575 h 3028950"/>
                  <a:gd name="connsiteX8" fmla="*/ 13323 w 3661398"/>
                  <a:gd name="connsiteY8" fmla="*/ 2162175 h 3028950"/>
                  <a:gd name="connsiteX9" fmla="*/ 784848 w 3661398"/>
                  <a:gd name="connsiteY9" fmla="*/ 1905000 h 3028950"/>
                  <a:gd name="connsiteX10" fmla="*/ 1156323 w 3661398"/>
                  <a:gd name="connsiteY10" fmla="*/ 2019300 h 3028950"/>
                  <a:gd name="connsiteX11" fmla="*/ 2613648 w 3661398"/>
                  <a:gd name="connsiteY11" fmla="*/ 3028950 h 3028950"/>
                  <a:gd name="connsiteX12" fmla="*/ 3089898 w 3661398"/>
                  <a:gd name="connsiteY12" fmla="*/ 2609850 h 3028950"/>
                  <a:gd name="connsiteX13" fmla="*/ 3185148 w 3661398"/>
                  <a:gd name="connsiteY13" fmla="*/ 2686050 h 3028950"/>
                  <a:gd name="connsiteX14" fmla="*/ 3508998 w 3661398"/>
                  <a:gd name="connsiteY14" fmla="*/ 2466975 h 3028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661398" h="3028950">
                    <a:moveTo>
                      <a:pt x="3661398" y="0"/>
                    </a:moveTo>
                    <a:lnTo>
                      <a:pt x="2404098" y="962025"/>
                    </a:lnTo>
                    <a:lnTo>
                      <a:pt x="2518398" y="1085850"/>
                    </a:lnTo>
                    <a:lnTo>
                      <a:pt x="2251698" y="1247775"/>
                    </a:lnTo>
                    <a:lnTo>
                      <a:pt x="2318373" y="1362075"/>
                    </a:lnTo>
                    <a:lnTo>
                      <a:pt x="1965948" y="1590675"/>
                    </a:lnTo>
                    <a:cubicBezTo>
                      <a:pt x="1838948" y="1676400"/>
                      <a:pt x="1273798" y="1371600"/>
                      <a:pt x="1184898" y="1371600"/>
                    </a:cubicBezTo>
                    <a:cubicBezTo>
                      <a:pt x="905498" y="1431925"/>
                      <a:pt x="473698" y="1395413"/>
                      <a:pt x="346698" y="1552575"/>
                    </a:cubicBezTo>
                    <a:cubicBezTo>
                      <a:pt x="219698" y="1787525"/>
                      <a:pt x="130798" y="1917700"/>
                      <a:pt x="13323" y="2162175"/>
                    </a:cubicBezTo>
                    <a:cubicBezTo>
                      <a:pt x="-97802" y="2400300"/>
                      <a:pt x="514973" y="2390775"/>
                      <a:pt x="784848" y="1905000"/>
                    </a:cubicBezTo>
                    <a:lnTo>
                      <a:pt x="1156323" y="2019300"/>
                    </a:lnTo>
                    <a:cubicBezTo>
                      <a:pt x="1689723" y="2330450"/>
                      <a:pt x="2137398" y="2679700"/>
                      <a:pt x="2613648" y="3028950"/>
                    </a:cubicBezTo>
                    <a:lnTo>
                      <a:pt x="3089898" y="2609850"/>
                    </a:lnTo>
                    <a:lnTo>
                      <a:pt x="3185148" y="2686050"/>
                    </a:lnTo>
                    <a:lnTo>
                      <a:pt x="3508998" y="2466975"/>
                    </a:lnTo>
                  </a:path>
                </a:pathLst>
              </a:custGeom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1" name="Freeform 4">
                <a:extLst>
                  <a:ext uri="{FF2B5EF4-FFF2-40B4-BE49-F238E27FC236}">
                    <a16:creationId xmlns:a16="http://schemas.microsoft.com/office/drawing/2014/main" id="{2347A264-5E3F-4949-BBB7-6E6D76B31EB9}"/>
                  </a:ext>
                </a:extLst>
              </p:cNvPr>
              <p:cNvSpPr/>
              <p:nvPr/>
            </p:nvSpPr>
            <p:spPr>
              <a:xfrm>
                <a:off x="1914525" y="1276351"/>
                <a:ext cx="4300729" cy="4336841"/>
              </a:xfrm>
              <a:custGeom>
                <a:avLst/>
                <a:gdLst>
                  <a:gd name="connsiteX0" fmla="*/ 0 w 4276725"/>
                  <a:gd name="connsiteY0" fmla="*/ 0 h 4114800"/>
                  <a:gd name="connsiteX1" fmla="*/ 1028700 w 4276725"/>
                  <a:gd name="connsiteY1" fmla="*/ 866775 h 4114800"/>
                  <a:gd name="connsiteX2" fmla="*/ 952500 w 4276725"/>
                  <a:gd name="connsiteY2" fmla="*/ 990600 h 4114800"/>
                  <a:gd name="connsiteX3" fmla="*/ 1333500 w 4276725"/>
                  <a:gd name="connsiteY3" fmla="*/ 12858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952500 w 4276725"/>
                  <a:gd name="connsiteY2" fmla="*/ 990600 h 4114800"/>
                  <a:gd name="connsiteX3" fmla="*/ 1333500 w 4276725"/>
                  <a:gd name="connsiteY3" fmla="*/ 12858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33500 w 4276725"/>
                  <a:gd name="connsiteY3" fmla="*/ 12858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43025 w 4276725"/>
                  <a:gd name="connsiteY3" fmla="*/ 13239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43025 w 4276725"/>
                  <a:gd name="connsiteY3" fmla="*/ 13239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43025 w 4276725"/>
                  <a:gd name="connsiteY3" fmla="*/ 1323975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4478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857500 w 4276725"/>
                  <a:gd name="connsiteY8" fmla="*/ 221932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302473"/>
                  <a:gd name="connsiteY0" fmla="*/ 0 h 4114800"/>
                  <a:gd name="connsiteX1" fmla="*/ 1190625 w 4302473"/>
                  <a:gd name="connsiteY1" fmla="*/ 990600 h 4114800"/>
                  <a:gd name="connsiteX2" fmla="*/ 1095375 w 4302473"/>
                  <a:gd name="connsiteY2" fmla="*/ 1152525 h 4114800"/>
                  <a:gd name="connsiteX3" fmla="*/ 1371600 w 4302473"/>
                  <a:gd name="connsiteY3" fmla="*/ 1390650 h 4114800"/>
                  <a:gd name="connsiteX4" fmla="*/ 1276350 w 4302473"/>
                  <a:gd name="connsiteY4" fmla="*/ 1552575 h 4114800"/>
                  <a:gd name="connsiteX5" fmla="*/ 1590675 w 4302473"/>
                  <a:gd name="connsiteY5" fmla="*/ 1762125 h 4114800"/>
                  <a:gd name="connsiteX6" fmla="*/ 1885950 w 4302473"/>
                  <a:gd name="connsiteY6" fmla="*/ 1743075 h 4114800"/>
                  <a:gd name="connsiteX7" fmla="*/ 1562100 w 4302473"/>
                  <a:gd name="connsiteY7" fmla="*/ 2362200 h 4114800"/>
                  <a:gd name="connsiteX8" fmla="*/ 2524125 w 4302473"/>
                  <a:gd name="connsiteY8" fmla="*/ 2162175 h 4114800"/>
                  <a:gd name="connsiteX9" fmla="*/ 2838450 w 4302473"/>
                  <a:gd name="connsiteY9" fmla="*/ 2228850 h 4114800"/>
                  <a:gd name="connsiteX10" fmla="*/ 4276725 w 4302473"/>
                  <a:gd name="connsiteY10" fmla="*/ 3314700 h 4114800"/>
                  <a:gd name="connsiteX11" fmla="*/ 3952875 w 4302473"/>
                  <a:gd name="connsiteY11" fmla="*/ 3590925 h 4114800"/>
                  <a:gd name="connsiteX12" fmla="*/ 3524250 w 4302473"/>
                  <a:gd name="connsiteY12" fmla="*/ 3914775 h 4114800"/>
                  <a:gd name="connsiteX13" fmla="*/ 3124200 w 4302473"/>
                  <a:gd name="connsiteY13" fmla="*/ 4114800 h 4114800"/>
                  <a:gd name="connsiteX14" fmla="*/ 2514600 w 4302473"/>
                  <a:gd name="connsiteY14" fmla="*/ 4114800 h 4114800"/>
                  <a:gd name="connsiteX15" fmla="*/ 2257425 w 4302473"/>
                  <a:gd name="connsiteY15" fmla="*/ 3695700 h 4114800"/>
                  <a:gd name="connsiteX16" fmla="*/ 1828800 w 4302473"/>
                  <a:gd name="connsiteY16" fmla="*/ 3409950 h 4114800"/>
                  <a:gd name="connsiteX17" fmla="*/ 1476375 w 4302473"/>
                  <a:gd name="connsiteY17" fmla="*/ 3171825 h 4114800"/>
                  <a:gd name="connsiteX18" fmla="*/ 1114425 w 4302473"/>
                  <a:gd name="connsiteY18" fmla="*/ 3019425 h 4114800"/>
                  <a:gd name="connsiteX19" fmla="*/ 933450 w 4302473"/>
                  <a:gd name="connsiteY19" fmla="*/ 2733675 h 4114800"/>
                  <a:gd name="connsiteX20" fmla="*/ 619125 w 4302473"/>
                  <a:gd name="connsiteY20" fmla="*/ 2476500 h 4114800"/>
                  <a:gd name="connsiteX21" fmla="*/ 447675 w 4302473"/>
                  <a:gd name="connsiteY21" fmla="*/ 2571750 h 4114800"/>
                  <a:gd name="connsiteX22" fmla="*/ 152400 w 4302473"/>
                  <a:gd name="connsiteY22" fmla="*/ 2333625 h 4114800"/>
                  <a:gd name="connsiteX23" fmla="*/ 142875 w 4302473"/>
                  <a:gd name="connsiteY23" fmla="*/ 2305050 h 4114800"/>
                  <a:gd name="connsiteX0" fmla="*/ 0 w 4315610"/>
                  <a:gd name="connsiteY0" fmla="*/ 0 h 4114800"/>
                  <a:gd name="connsiteX1" fmla="*/ 1190625 w 4315610"/>
                  <a:gd name="connsiteY1" fmla="*/ 990600 h 4114800"/>
                  <a:gd name="connsiteX2" fmla="*/ 1095375 w 4315610"/>
                  <a:gd name="connsiteY2" fmla="*/ 1152525 h 4114800"/>
                  <a:gd name="connsiteX3" fmla="*/ 1371600 w 4315610"/>
                  <a:gd name="connsiteY3" fmla="*/ 1390650 h 4114800"/>
                  <a:gd name="connsiteX4" fmla="*/ 1276350 w 4315610"/>
                  <a:gd name="connsiteY4" fmla="*/ 1552575 h 4114800"/>
                  <a:gd name="connsiteX5" fmla="*/ 1590675 w 4315610"/>
                  <a:gd name="connsiteY5" fmla="*/ 1762125 h 4114800"/>
                  <a:gd name="connsiteX6" fmla="*/ 1885950 w 4315610"/>
                  <a:gd name="connsiteY6" fmla="*/ 1743075 h 4114800"/>
                  <a:gd name="connsiteX7" fmla="*/ 1562100 w 4315610"/>
                  <a:gd name="connsiteY7" fmla="*/ 2362200 h 4114800"/>
                  <a:gd name="connsiteX8" fmla="*/ 2524125 w 4315610"/>
                  <a:gd name="connsiteY8" fmla="*/ 2162175 h 4114800"/>
                  <a:gd name="connsiteX9" fmla="*/ 2838450 w 4315610"/>
                  <a:gd name="connsiteY9" fmla="*/ 2228850 h 4114800"/>
                  <a:gd name="connsiteX10" fmla="*/ 4276725 w 4315610"/>
                  <a:gd name="connsiteY10" fmla="*/ 3314700 h 4114800"/>
                  <a:gd name="connsiteX11" fmla="*/ 3952875 w 4315610"/>
                  <a:gd name="connsiteY11" fmla="*/ 3590925 h 4114800"/>
                  <a:gd name="connsiteX12" fmla="*/ 3524250 w 4315610"/>
                  <a:gd name="connsiteY12" fmla="*/ 3914775 h 4114800"/>
                  <a:gd name="connsiteX13" fmla="*/ 3124200 w 4315610"/>
                  <a:gd name="connsiteY13" fmla="*/ 4114800 h 4114800"/>
                  <a:gd name="connsiteX14" fmla="*/ 2514600 w 4315610"/>
                  <a:gd name="connsiteY14" fmla="*/ 4114800 h 4114800"/>
                  <a:gd name="connsiteX15" fmla="*/ 2257425 w 4315610"/>
                  <a:gd name="connsiteY15" fmla="*/ 3695700 h 4114800"/>
                  <a:gd name="connsiteX16" fmla="*/ 1828800 w 4315610"/>
                  <a:gd name="connsiteY16" fmla="*/ 3409950 h 4114800"/>
                  <a:gd name="connsiteX17" fmla="*/ 1476375 w 4315610"/>
                  <a:gd name="connsiteY17" fmla="*/ 3171825 h 4114800"/>
                  <a:gd name="connsiteX18" fmla="*/ 1114425 w 4315610"/>
                  <a:gd name="connsiteY18" fmla="*/ 3019425 h 4114800"/>
                  <a:gd name="connsiteX19" fmla="*/ 933450 w 4315610"/>
                  <a:gd name="connsiteY19" fmla="*/ 2733675 h 4114800"/>
                  <a:gd name="connsiteX20" fmla="*/ 619125 w 4315610"/>
                  <a:gd name="connsiteY20" fmla="*/ 2476500 h 4114800"/>
                  <a:gd name="connsiteX21" fmla="*/ 447675 w 4315610"/>
                  <a:gd name="connsiteY21" fmla="*/ 2571750 h 4114800"/>
                  <a:gd name="connsiteX22" fmla="*/ 152400 w 4315610"/>
                  <a:gd name="connsiteY22" fmla="*/ 2333625 h 4114800"/>
                  <a:gd name="connsiteX23" fmla="*/ 142875 w 4315610"/>
                  <a:gd name="connsiteY23" fmla="*/ 2305050 h 4114800"/>
                  <a:gd name="connsiteX0" fmla="*/ 0 w 4251400"/>
                  <a:gd name="connsiteY0" fmla="*/ 0 h 4114800"/>
                  <a:gd name="connsiteX1" fmla="*/ 1190625 w 4251400"/>
                  <a:gd name="connsiteY1" fmla="*/ 990600 h 4114800"/>
                  <a:gd name="connsiteX2" fmla="*/ 1095375 w 4251400"/>
                  <a:gd name="connsiteY2" fmla="*/ 1152525 h 4114800"/>
                  <a:gd name="connsiteX3" fmla="*/ 1371600 w 4251400"/>
                  <a:gd name="connsiteY3" fmla="*/ 1390650 h 4114800"/>
                  <a:gd name="connsiteX4" fmla="*/ 1276350 w 4251400"/>
                  <a:gd name="connsiteY4" fmla="*/ 1552575 h 4114800"/>
                  <a:gd name="connsiteX5" fmla="*/ 1590675 w 4251400"/>
                  <a:gd name="connsiteY5" fmla="*/ 1762125 h 4114800"/>
                  <a:gd name="connsiteX6" fmla="*/ 1885950 w 4251400"/>
                  <a:gd name="connsiteY6" fmla="*/ 1743075 h 4114800"/>
                  <a:gd name="connsiteX7" fmla="*/ 1562100 w 4251400"/>
                  <a:gd name="connsiteY7" fmla="*/ 2362200 h 4114800"/>
                  <a:gd name="connsiteX8" fmla="*/ 2524125 w 4251400"/>
                  <a:gd name="connsiteY8" fmla="*/ 2162175 h 4114800"/>
                  <a:gd name="connsiteX9" fmla="*/ 2838450 w 4251400"/>
                  <a:gd name="connsiteY9" fmla="*/ 2228850 h 4114800"/>
                  <a:gd name="connsiteX10" fmla="*/ 4200525 w 4251400"/>
                  <a:gd name="connsiteY10" fmla="*/ 3267075 h 4114800"/>
                  <a:gd name="connsiteX11" fmla="*/ 3952875 w 4251400"/>
                  <a:gd name="connsiteY11" fmla="*/ 3590925 h 4114800"/>
                  <a:gd name="connsiteX12" fmla="*/ 3524250 w 4251400"/>
                  <a:gd name="connsiteY12" fmla="*/ 3914775 h 4114800"/>
                  <a:gd name="connsiteX13" fmla="*/ 3124200 w 4251400"/>
                  <a:gd name="connsiteY13" fmla="*/ 4114800 h 4114800"/>
                  <a:gd name="connsiteX14" fmla="*/ 2514600 w 4251400"/>
                  <a:gd name="connsiteY14" fmla="*/ 4114800 h 4114800"/>
                  <a:gd name="connsiteX15" fmla="*/ 2257425 w 4251400"/>
                  <a:gd name="connsiteY15" fmla="*/ 3695700 h 4114800"/>
                  <a:gd name="connsiteX16" fmla="*/ 1828800 w 4251400"/>
                  <a:gd name="connsiteY16" fmla="*/ 3409950 h 4114800"/>
                  <a:gd name="connsiteX17" fmla="*/ 1476375 w 4251400"/>
                  <a:gd name="connsiteY17" fmla="*/ 3171825 h 4114800"/>
                  <a:gd name="connsiteX18" fmla="*/ 1114425 w 4251400"/>
                  <a:gd name="connsiteY18" fmla="*/ 3019425 h 4114800"/>
                  <a:gd name="connsiteX19" fmla="*/ 933450 w 4251400"/>
                  <a:gd name="connsiteY19" fmla="*/ 2733675 h 4114800"/>
                  <a:gd name="connsiteX20" fmla="*/ 619125 w 4251400"/>
                  <a:gd name="connsiteY20" fmla="*/ 2476500 h 4114800"/>
                  <a:gd name="connsiteX21" fmla="*/ 447675 w 4251400"/>
                  <a:gd name="connsiteY21" fmla="*/ 2571750 h 4114800"/>
                  <a:gd name="connsiteX22" fmla="*/ 152400 w 4251400"/>
                  <a:gd name="connsiteY22" fmla="*/ 2333625 h 4114800"/>
                  <a:gd name="connsiteX23" fmla="*/ 142875 w 4251400"/>
                  <a:gd name="connsiteY23" fmla="*/ 2305050 h 4114800"/>
                  <a:gd name="connsiteX0" fmla="*/ 0 w 4305862"/>
                  <a:gd name="connsiteY0" fmla="*/ 0 h 4114800"/>
                  <a:gd name="connsiteX1" fmla="*/ 1190625 w 4305862"/>
                  <a:gd name="connsiteY1" fmla="*/ 990600 h 4114800"/>
                  <a:gd name="connsiteX2" fmla="*/ 1095375 w 4305862"/>
                  <a:gd name="connsiteY2" fmla="*/ 1152525 h 4114800"/>
                  <a:gd name="connsiteX3" fmla="*/ 1371600 w 4305862"/>
                  <a:gd name="connsiteY3" fmla="*/ 1390650 h 4114800"/>
                  <a:gd name="connsiteX4" fmla="*/ 1276350 w 4305862"/>
                  <a:gd name="connsiteY4" fmla="*/ 1552575 h 4114800"/>
                  <a:gd name="connsiteX5" fmla="*/ 1590675 w 4305862"/>
                  <a:gd name="connsiteY5" fmla="*/ 1762125 h 4114800"/>
                  <a:gd name="connsiteX6" fmla="*/ 1885950 w 4305862"/>
                  <a:gd name="connsiteY6" fmla="*/ 1743075 h 4114800"/>
                  <a:gd name="connsiteX7" fmla="*/ 1562100 w 4305862"/>
                  <a:gd name="connsiteY7" fmla="*/ 2362200 h 4114800"/>
                  <a:gd name="connsiteX8" fmla="*/ 2524125 w 4305862"/>
                  <a:gd name="connsiteY8" fmla="*/ 2162175 h 4114800"/>
                  <a:gd name="connsiteX9" fmla="*/ 2838450 w 4305862"/>
                  <a:gd name="connsiteY9" fmla="*/ 2228850 h 4114800"/>
                  <a:gd name="connsiteX10" fmla="*/ 4200525 w 4305862"/>
                  <a:gd name="connsiteY10" fmla="*/ 3267075 h 4114800"/>
                  <a:gd name="connsiteX11" fmla="*/ 3952875 w 4305862"/>
                  <a:gd name="connsiteY11" fmla="*/ 3590925 h 4114800"/>
                  <a:gd name="connsiteX12" fmla="*/ 3524250 w 4305862"/>
                  <a:gd name="connsiteY12" fmla="*/ 3914775 h 4114800"/>
                  <a:gd name="connsiteX13" fmla="*/ 3124200 w 4305862"/>
                  <a:gd name="connsiteY13" fmla="*/ 4114800 h 4114800"/>
                  <a:gd name="connsiteX14" fmla="*/ 2514600 w 4305862"/>
                  <a:gd name="connsiteY14" fmla="*/ 4114800 h 4114800"/>
                  <a:gd name="connsiteX15" fmla="*/ 2257425 w 4305862"/>
                  <a:gd name="connsiteY15" fmla="*/ 3695700 h 4114800"/>
                  <a:gd name="connsiteX16" fmla="*/ 1828800 w 4305862"/>
                  <a:gd name="connsiteY16" fmla="*/ 3409950 h 4114800"/>
                  <a:gd name="connsiteX17" fmla="*/ 1476375 w 4305862"/>
                  <a:gd name="connsiteY17" fmla="*/ 3171825 h 4114800"/>
                  <a:gd name="connsiteX18" fmla="*/ 1114425 w 4305862"/>
                  <a:gd name="connsiteY18" fmla="*/ 3019425 h 4114800"/>
                  <a:gd name="connsiteX19" fmla="*/ 933450 w 4305862"/>
                  <a:gd name="connsiteY19" fmla="*/ 2733675 h 4114800"/>
                  <a:gd name="connsiteX20" fmla="*/ 619125 w 4305862"/>
                  <a:gd name="connsiteY20" fmla="*/ 2476500 h 4114800"/>
                  <a:gd name="connsiteX21" fmla="*/ 447675 w 4305862"/>
                  <a:gd name="connsiteY21" fmla="*/ 2571750 h 4114800"/>
                  <a:gd name="connsiteX22" fmla="*/ 152400 w 4305862"/>
                  <a:gd name="connsiteY22" fmla="*/ 2333625 h 4114800"/>
                  <a:gd name="connsiteX23" fmla="*/ 142875 w 4305862"/>
                  <a:gd name="connsiteY23" fmla="*/ 2305050 h 4114800"/>
                  <a:gd name="connsiteX0" fmla="*/ 0 w 4296221"/>
                  <a:gd name="connsiteY0" fmla="*/ 0 h 4114800"/>
                  <a:gd name="connsiteX1" fmla="*/ 1190625 w 4296221"/>
                  <a:gd name="connsiteY1" fmla="*/ 990600 h 4114800"/>
                  <a:gd name="connsiteX2" fmla="*/ 1095375 w 4296221"/>
                  <a:gd name="connsiteY2" fmla="*/ 1152525 h 4114800"/>
                  <a:gd name="connsiteX3" fmla="*/ 1371600 w 4296221"/>
                  <a:gd name="connsiteY3" fmla="*/ 1390650 h 4114800"/>
                  <a:gd name="connsiteX4" fmla="*/ 1276350 w 4296221"/>
                  <a:gd name="connsiteY4" fmla="*/ 1552575 h 4114800"/>
                  <a:gd name="connsiteX5" fmla="*/ 1590675 w 4296221"/>
                  <a:gd name="connsiteY5" fmla="*/ 1762125 h 4114800"/>
                  <a:gd name="connsiteX6" fmla="*/ 1885950 w 4296221"/>
                  <a:gd name="connsiteY6" fmla="*/ 1743075 h 4114800"/>
                  <a:gd name="connsiteX7" fmla="*/ 1562100 w 4296221"/>
                  <a:gd name="connsiteY7" fmla="*/ 2362200 h 4114800"/>
                  <a:gd name="connsiteX8" fmla="*/ 2524125 w 4296221"/>
                  <a:gd name="connsiteY8" fmla="*/ 2162175 h 4114800"/>
                  <a:gd name="connsiteX9" fmla="*/ 2838450 w 4296221"/>
                  <a:gd name="connsiteY9" fmla="*/ 2228850 h 4114800"/>
                  <a:gd name="connsiteX10" fmla="*/ 4200525 w 4296221"/>
                  <a:gd name="connsiteY10" fmla="*/ 3267075 h 4114800"/>
                  <a:gd name="connsiteX11" fmla="*/ 3905250 w 4296221"/>
                  <a:gd name="connsiteY11" fmla="*/ 3552825 h 4114800"/>
                  <a:gd name="connsiteX12" fmla="*/ 3524250 w 4296221"/>
                  <a:gd name="connsiteY12" fmla="*/ 3914775 h 4114800"/>
                  <a:gd name="connsiteX13" fmla="*/ 3124200 w 4296221"/>
                  <a:gd name="connsiteY13" fmla="*/ 4114800 h 4114800"/>
                  <a:gd name="connsiteX14" fmla="*/ 2514600 w 4296221"/>
                  <a:gd name="connsiteY14" fmla="*/ 4114800 h 4114800"/>
                  <a:gd name="connsiteX15" fmla="*/ 2257425 w 4296221"/>
                  <a:gd name="connsiteY15" fmla="*/ 3695700 h 4114800"/>
                  <a:gd name="connsiteX16" fmla="*/ 1828800 w 4296221"/>
                  <a:gd name="connsiteY16" fmla="*/ 3409950 h 4114800"/>
                  <a:gd name="connsiteX17" fmla="*/ 1476375 w 4296221"/>
                  <a:gd name="connsiteY17" fmla="*/ 3171825 h 4114800"/>
                  <a:gd name="connsiteX18" fmla="*/ 1114425 w 4296221"/>
                  <a:gd name="connsiteY18" fmla="*/ 3019425 h 4114800"/>
                  <a:gd name="connsiteX19" fmla="*/ 933450 w 4296221"/>
                  <a:gd name="connsiteY19" fmla="*/ 2733675 h 4114800"/>
                  <a:gd name="connsiteX20" fmla="*/ 619125 w 4296221"/>
                  <a:gd name="connsiteY20" fmla="*/ 2476500 h 4114800"/>
                  <a:gd name="connsiteX21" fmla="*/ 447675 w 4296221"/>
                  <a:gd name="connsiteY21" fmla="*/ 2571750 h 4114800"/>
                  <a:gd name="connsiteX22" fmla="*/ 152400 w 4296221"/>
                  <a:gd name="connsiteY22" fmla="*/ 2333625 h 4114800"/>
                  <a:gd name="connsiteX23" fmla="*/ 142875 w 4296221"/>
                  <a:gd name="connsiteY23" fmla="*/ 2305050 h 4114800"/>
                  <a:gd name="connsiteX0" fmla="*/ 0 w 4243525"/>
                  <a:gd name="connsiteY0" fmla="*/ 0 h 4114800"/>
                  <a:gd name="connsiteX1" fmla="*/ 1190625 w 4243525"/>
                  <a:gd name="connsiteY1" fmla="*/ 990600 h 4114800"/>
                  <a:gd name="connsiteX2" fmla="*/ 1095375 w 4243525"/>
                  <a:gd name="connsiteY2" fmla="*/ 1152525 h 4114800"/>
                  <a:gd name="connsiteX3" fmla="*/ 1371600 w 4243525"/>
                  <a:gd name="connsiteY3" fmla="*/ 1390650 h 4114800"/>
                  <a:gd name="connsiteX4" fmla="*/ 1276350 w 4243525"/>
                  <a:gd name="connsiteY4" fmla="*/ 1552575 h 4114800"/>
                  <a:gd name="connsiteX5" fmla="*/ 1590675 w 4243525"/>
                  <a:gd name="connsiteY5" fmla="*/ 1762125 h 4114800"/>
                  <a:gd name="connsiteX6" fmla="*/ 1885950 w 4243525"/>
                  <a:gd name="connsiteY6" fmla="*/ 1743075 h 4114800"/>
                  <a:gd name="connsiteX7" fmla="*/ 1562100 w 4243525"/>
                  <a:gd name="connsiteY7" fmla="*/ 2362200 h 4114800"/>
                  <a:gd name="connsiteX8" fmla="*/ 2524125 w 4243525"/>
                  <a:gd name="connsiteY8" fmla="*/ 2162175 h 4114800"/>
                  <a:gd name="connsiteX9" fmla="*/ 2838450 w 4243525"/>
                  <a:gd name="connsiteY9" fmla="*/ 2228850 h 4114800"/>
                  <a:gd name="connsiteX10" fmla="*/ 4133850 w 4243525"/>
                  <a:gd name="connsiteY10" fmla="*/ 3181350 h 4114800"/>
                  <a:gd name="connsiteX11" fmla="*/ 3905250 w 4243525"/>
                  <a:gd name="connsiteY11" fmla="*/ 3552825 h 4114800"/>
                  <a:gd name="connsiteX12" fmla="*/ 3524250 w 4243525"/>
                  <a:gd name="connsiteY12" fmla="*/ 3914775 h 4114800"/>
                  <a:gd name="connsiteX13" fmla="*/ 3124200 w 4243525"/>
                  <a:gd name="connsiteY13" fmla="*/ 4114800 h 4114800"/>
                  <a:gd name="connsiteX14" fmla="*/ 2514600 w 4243525"/>
                  <a:gd name="connsiteY14" fmla="*/ 4114800 h 4114800"/>
                  <a:gd name="connsiteX15" fmla="*/ 2257425 w 4243525"/>
                  <a:gd name="connsiteY15" fmla="*/ 3695700 h 4114800"/>
                  <a:gd name="connsiteX16" fmla="*/ 1828800 w 4243525"/>
                  <a:gd name="connsiteY16" fmla="*/ 3409950 h 4114800"/>
                  <a:gd name="connsiteX17" fmla="*/ 1476375 w 4243525"/>
                  <a:gd name="connsiteY17" fmla="*/ 3171825 h 4114800"/>
                  <a:gd name="connsiteX18" fmla="*/ 1114425 w 4243525"/>
                  <a:gd name="connsiteY18" fmla="*/ 3019425 h 4114800"/>
                  <a:gd name="connsiteX19" fmla="*/ 933450 w 4243525"/>
                  <a:gd name="connsiteY19" fmla="*/ 2733675 h 4114800"/>
                  <a:gd name="connsiteX20" fmla="*/ 619125 w 4243525"/>
                  <a:gd name="connsiteY20" fmla="*/ 2476500 h 4114800"/>
                  <a:gd name="connsiteX21" fmla="*/ 447675 w 4243525"/>
                  <a:gd name="connsiteY21" fmla="*/ 2571750 h 4114800"/>
                  <a:gd name="connsiteX22" fmla="*/ 152400 w 4243525"/>
                  <a:gd name="connsiteY22" fmla="*/ 2333625 h 4114800"/>
                  <a:gd name="connsiteX23" fmla="*/ 142875 w 4243525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914775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914775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886200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886200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56323"/>
                  <a:gd name="connsiteY0" fmla="*/ 0 h 4114800"/>
                  <a:gd name="connsiteX1" fmla="*/ 1190625 w 4256323"/>
                  <a:gd name="connsiteY1" fmla="*/ 990600 h 4114800"/>
                  <a:gd name="connsiteX2" fmla="*/ 1095375 w 4256323"/>
                  <a:gd name="connsiteY2" fmla="*/ 1152525 h 4114800"/>
                  <a:gd name="connsiteX3" fmla="*/ 1371600 w 4256323"/>
                  <a:gd name="connsiteY3" fmla="*/ 1390650 h 4114800"/>
                  <a:gd name="connsiteX4" fmla="*/ 1276350 w 4256323"/>
                  <a:gd name="connsiteY4" fmla="*/ 1552575 h 4114800"/>
                  <a:gd name="connsiteX5" fmla="*/ 1590675 w 4256323"/>
                  <a:gd name="connsiteY5" fmla="*/ 1762125 h 4114800"/>
                  <a:gd name="connsiteX6" fmla="*/ 1885950 w 4256323"/>
                  <a:gd name="connsiteY6" fmla="*/ 1743075 h 4114800"/>
                  <a:gd name="connsiteX7" fmla="*/ 1562100 w 4256323"/>
                  <a:gd name="connsiteY7" fmla="*/ 2362200 h 4114800"/>
                  <a:gd name="connsiteX8" fmla="*/ 2524125 w 4256323"/>
                  <a:gd name="connsiteY8" fmla="*/ 2162175 h 4114800"/>
                  <a:gd name="connsiteX9" fmla="*/ 2838450 w 4256323"/>
                  <a:gd name="connsiteY9" fmla="*/ 2228850 h 4114800"/>
                  <a:gd name="connsiteX10" fmla="*/ 4133850 w 4256323"/>
                  <a:gd name="connsiteY10" fmla="*/ 3181350 h 4114800"/>
                  <a:gd name="connsiteX11" fmla="*/ 3848100 w 4256323"/>
                  <a:gd name="connsiteY11" fmla="*/ 3562350 h 4114800"/>
                  <a:gd name="connsiteX12" fmla="*/ 3524250 w 4256323"/>
                  <a:gd name="connsiteY12" fmla="*/ 3886200 h 4114800"/>
                  <a:gd name="connsiteX13" fmla="*/ 3124200 w 4256323"/>
                  <a:gd name="connsiteY13" fmla="*/ 4114800 h 4114800"/>
                  <a:gd name="connsiteX14" fmla="*/ 2514600 w 4256323"/>
                  <a:gd name="connsiteY14" fmla="*/ 4114800 h 4114800"/>
                  <a:gd name="connsiteX15" fmla="*/ 2257425 w 4256323"/>
                  <a:gd name="connsiteY15" fmla="*/ 3695700 h 4114800"/>
                  <a:gd name="connsiteX16" fmla="*/ 1828800 w 4256323"/>
                  <a:gd name="connsiteY16" fmla="*/ 3409950 h 4114800"/>
                  <a:gd name="connsiteX17" fmla="*/ 1476375 w 4256323"/>
                  <a:gd name="connsiteY17" fmla="*/ 3171825 h 4114800"/>
                  <a:gd name="connsiteX18" fmla="*/ 1114425 w 4256323"/>
                  <a:gd name="connsiteY18" fmla="*/ 3019425 h 4114800"/>
                  <a:gd name="connsiteX19" fmla="*/ 933450 w 4256323"/>
                  <a:gd name="connsiteY19" fmla="*/ 2733675 h 4114800"/>
                  <a:gd name="connsiteX20" fmla="*/ 619125 w 4256323"/>
                  <a:gd name="connsiteY20" fmla="*/ 2476500 h 4114800"/>
                  <a:gd name="connsiteX21" fmla="*/ 447675 w 4256323"/>
                  <a:gd name="connsiteY21" fmla="*/ 2571750 h 4114800"/>
                  <a:gd name="connsiteX22" fmla="*/ 152400 w 4256323"/>
                  <a:gd name="connsiteY22" fmla="*/ 2333625 h 4114800"/>
                  <a:gd name="connsiteX23" fmla="*/ 142875 w 4256323"/>
                  <a:gd name="connsiteY23" fmla="*/ 2305050 h 4114800"/>
                  <a:gd name="connsiteX0" fmla="*/ 0 w 4265214"/>
                  <a:gd name="connsiteY0" fmla="*/ 0 h 4114800"/>
                  <a:gd name="connsiteX1" fmla="*/ 1190625 w 4265214"/>
                  <a:gd name="connsiteY1" fmla="*/ 990600 h 4114800"/>
                  <a:gd name="connsiteX2" fmla="*/ 1095375 w 4265214"/>
                  <a:gd name="connsiteY2" fmla="*/ 1152525 h 4114800"/>
                  <a:gd name="connsiteX3" fmla="*/ 1371600 w 4265214"/>
                  <a:gd name="connsiteY3" fmla="*/ 1390650 h 4114800"/>
                  <a:gd name="connsiteX4" fmla="*/ 1276350 w 4265214"/>
                  <a:gd name="connsiteY4" fmla="*/ 1552575 h 4114800"/>
                  <a:gd name="connsiteX5" fmla="*/ 1590675 w 4265214"/>
                  <a:gd name="connsiteY5" fmla="*/ 1762125 h 4114800"/>
                  <a:gd name="connsiteX6" fmla="*/ 1885950 w 4265214"/>
                  <a:gd name="connsiteY6" fmla="*/ 1743075 h 4114800"/>
                  <a:gd name="connsiteX7" fmla="*/ 1562100 w 4265214"/>
                  <a:gd name="connsiteY7" fmla="*/ 2362200 h 4114800"/>
                  <a:gd name="connsiteX8" fmla="*/ 2524125 w 4265214"/>
                  <a:gd name="connsiteY8" fmla="*/ 2162175 h 4114800"/>
                  <a:gd name="connsiteX9" fmla="*/ 2838450 w 4265214"/>
                  <a:gd name="connsiteY9" fmla="*/ 2228850 h 4114800"/>
                  <a:gd name="connsiteX10" fmla="*/ 4133850 w 4265214"/>
                  <a:gd name="connsiteY10" fmla="*/ 3181350 h 4114800"/>
                  <a:gd name="connsiteX11" fmla="*/ 3848100 w 4265214"/>
                  <a:gd name="connsiteY11" fmla="*/ 3562350 h 4114800"/>
                  <a:gd name="connsiteX12" fmla="*/ 3524250 w 4265214"/>
                  <a:gd name="connsiteY12" fmla="*/ 3886200 h 4114800"/>
                  <a:gd name="connsiteX13" fmla="*/ 3124200 w 4265214"/>
                  <a:gd name="connsiteY13" fmla="*/ 4114800 h 4114800"/>
                  <a:gd name="connsiteX14" fmla="*/ 2514600 w 4265214"/>
                  <a:gd name="connsiteY14" fmla="*/ 4114800 h 4114800"/>
                  <a:gd name="connsiteX15" fmla="*/ 2257425 w 4265214"/>
                  <a:gd name="connsiteY15" fmla="*/ 3695700 h 4114800"/>
                  <a:gd name="connsiteX16" fmla="*/ 1828800 w 4265214"/>
                  <a:gd name="connsiteY16" fmla="*/ 3409950 h 4114800"/>
                  <a:gd name="connsiteX17" fmla="*/ 1476375 w 4265214"/>
                  <a:gd name="connsiteY17" fmla="*/ 3171825 h 4114800"/>
                  <a:gd name="connsiteX18" fmla="*/ 1114425 w 4265214"/>
                  <a:gd name="connsiteY18" fmla="*/ 3019425 h 4114800"/>
                  <a:gd name="connsiteX19" fmla="*/ 933450 w 4265214"/>
                  <a:gd name="connsiteY19" fmla="*/ 2733675 h 4114800"/>
                  <a:gd name="connsiteX20" fmla="*/ 619125 w 4265214"/>
                  <a:gd name="connsiteY20" fmla="*/ 2476500 h 4114800"/>
                  <a:gd name="connsiteX21" fmla="*/ 447675 w 4265214"/>
                  <a:gd name="connsiteY21" fmla="*/ 2571750 h 4114800"/>
                  <a:gd name="connsiteX22" fmla="*/ 152400 w 4265214"/>
                  <a:gd name="connsiteY22" fmla="*/ 2333625 h 4114800"/>
                  <a:gd name="connsiteX23" fmla="*/ 142875 w 4265214"/>
                  <a:gd name="connsiteY23" fmla="*/ 2305050 h 4114800"/>
                  <a:gd name="connsiteX0" fmla="*/ 0 w 4265214"/>
                  <a:gd name="connsiteY0" fmla="*/ 0 h 4114800"/>
                  <a:gd name="connsiteX1" fmla="*/ 1190625 w 4265214"/>
                  <a:gd name="connsiteY1" fmla="*/ 990600 h 4114800"/>
                  <a:gd name="connsiteX2" fmla="*/ 1095375 w 4265214"/>
                  <a:gd name="connsiteY2" fmla="*/ 1152525 h 4114800"/>
                  <a:gd name="connsiteX3" fmla="*/ 1371600 w 4265214"/>
                  <a:gd name="connsiteY3" fmla="*/ 1390650 h 4114800"/>
                  <a:gd name="connsiteX4" fmla="*/ 1276350 w 4265214"/>
                  <a:gd name="connsiteY4" fmla="*/ 1552575 h 4114800"/>
                  <a:gd name="connsiteX5" fmla="*/ 1590675 w 4265214"/>
                  <a:gd name="connsiteY5" fmla="*/ 1762125 h 4114800"/>
                  <a:gd name="connsiteX6" fmla="*/ 1885950 w 4265214"/>
                  <a:gd name="connsiteY6" fmla="*/ 1743075 h 4114800"/>
                  <a:gd name="connsiteX7" fmla="*/ 1562100 w 4265214"/>
                  <a:gd name="connsiteY7" fmla="*/ 2362200 h 4114800"/>
                  <a:gd name="connsiteX8" fmla="*/ 2524125 w 4265214"/>
                  <a:gd name="connsiteY8" fmla="*/ 2162175 h 4114800"/>
                  <a:gd name="connsiteX9" fmla="*/ 2838450 w 4265214"/>
                  <a:gd name="connsiteY9" fmla="*/ 2228850 h 4114800"/>
                  <a:gd name="connsiteX10" fmla="*/ 4133850 w 4265214"/>
                  <a:gd name="connsiteY10" fmla="*/ 3181350 h 4114800"/>
                  <a:gd name="connsiteX11" fmla="*/ 3848100 w 4265214"/>
                  <a:gd name="connsiteY11" fmla="*/ 3562350 h 4114800"/>
                  <a:gd name="connsiteX12" fmla="*/ 3524250 w 4265214"/>
                  <a:gd name="connsiteY12" fmla="*/ 3886200 h 4114800"/>
                  <a:gd name="connsiteX13" fmla="*/ 3124200 w 4265214"/>
                  <a:gd name="connsiteY13" fmla="*/ 4114800 h 4114800"/>
                  <a:gd name="connsiteX14" fmla="*/ 2514600 w 4265214"/>
                  <a:gd name="connsiteY14" fmla="*/ 4114800 h 4114800"/>
                  <a:gd name="connsiteX15" fmla="*/ 2257425 w 4265214"/>
                  <a:gd name="connsiteY15" fmla="*/ 3695700 h 4114800"/>
                  <a:gd name="connsiteX16" fmla="*/ 1828800 w 4265214"/>
                  <a:gd name="connsiteY16" fmla="*/ 3409950 h 4114800"/>
                  <a:gd name="connsiteX17" fmla="*/ 1476375 w 4265214"/>
                  <a:gd name="connsiteY17" fmla="*/ 3171825 h 4114800"/>
                  <a:gd name="connsiteX18" fmla="*/ 1114425 w 4265214"/>
                  <a:gd name="connsiteY18" fmla="*/ 3019425 h 4114800"/>
                  <a:gd name="connsiteX19" fmla="*/ 933450 w 4265214"/>
                  <a:gd name="connsiteY19" fmla="*/ 2733675 h 4114800"/>
                  <a:gd name="connsiteX20" fmla="*/ 619125 w 4265214"/>
                  <a:gd name="connsiteY20" fmla="*/ 2476500 h 4114800"/>
                  <a:gd name="connsiteX21" fmla="*/ 447675 w 4265214"/>
                  <a:gd name="connsiteY21" fmla="*/ 2571750 h 4114800"/>
                  <a:gd name="connsiteX22" fmla="*/ 152400 w 4265214"/>
                  <a:gd name="connsiteY22" fmla="*/ 2333625 h 4114800"/>
                  <a:gd name="connsiteX23" fmla="*/ 142875 w 4265214"/>
                  <a:gd name="connsiteY23" fmla="*/ 2305050 h 4114800"/>
                  <a:gd name="connsiteX0" fmla="*/ 0 w 4265214"/>
                  <a:gd name="connsiteY0" fmla="*/ 0 h 4114800"/>
                  <a:gd name="connsiteX1" fmla="*/ 1190625 w 4265214"/>
                  <a:gd name="connsiteY1" fmla="*/ 990600 h 4114800"/>
                  <a:gd name="connsiteX2" fmla="*/ 1095375 w 4265214"/>
                  <a:gd name="connsiteY2" fmla="*/ 1152525 h 4114800"/>
                  <a:gd name="connsiteX3" fmla="*/ 1371600 w 4265214"/>
                  <a:gd name="connsiteY3" fmla="*/ 1390650 h 4114800"/>
                  <a:gd name="connsiteX4" fmla="*/ 1276350 w 4265214"/>
                  <a:gd name="connsiteY4" fmla="*/ 1552575 h 4114800"/>
                  <a:gd name="connsiteX5" fmla="*/ 1590675 w 4265214"/>
                  <a:gd name="connsiteY5" fmla="*/ 1762125 h 4114800"/>
                  <a:gd name="connsiteX6" fmla="*/ 1885950 w 4265214"/>
                  <a:gd name="connsiteY6" fmla="*/ 1743075 h 4114800"/>
                  <a:gd name="connsiteX7" fmla="*/ 1562100 w 4265214"/>
                  <a:gd name="connsiteY7" fmla="*/ 2362200 h 4114800"/>
                  <a:gd name="connsiteX8" fmla="*/ 2524125 w 4265214"/>
                  <a:gd name="connsiteY8" fmla="*/ 2162175 h 4114800"/>
                  <a:gd name="connsiteX9" fmla="*/ 2838450 w 4265214"/>
                  <a:gd name="connsiteY9" fmla="*/ 2228850 h 4114800"/>
                  <a:gd name="connsiteX10" fmla="*/ 4133850 w 4265214"/>
                  <a:gd name="connsiteY10" fmla="*/ 3181350 h 4114800"/>
                  <a:gd name="connsiteX11" fmla="*/ 3848100 w 4265214"/>
                  <a:gd name="connsiteY11" fmla="*/ 3562350 h 4114800"/>
                  <a:gd name="connsiteX12" fmla="*/ 3438525 w 4265214"/>
                  <a:gd name="connsiteY12" fmla="*/ 3829050 h 4114800"/>
                  <a:gd name="connsiteX13" fmla="*/ 3124200 w 4265214"/>
                  <a:gd name="connsiteY13" fmla="*/ 4114800 h 4114800"/>
                  <a:gd name="connsiteX14" fmla="*/ 2514600 w 4265214"/>
                  <a:gd name="connsiteY14" fmla="*/ 4114800 h 4114800"/>
                  <a:gd name="connsiteX15" fmla="*/ 2257425 w 4265214"/>
                  <a:gd name="connsiteY15" fmla="*/ 3695700 h 4114800"/>
                  <a:gd name="connsiteX16" fmla="*/ 1828800 w 4265214"/>
                  <a:gd name="connsiteY16" fmla="*/ 3409950 h 4114800"/>
                  <a:gd name="connsiteX17" fmla="*/ 1476375 w 4265214"/>
                  <a:gd name="connsiteY17" fmla="*/ 3171825 h 4114800"/>
                  <a:gd name="connsiteX18" fmla="*/ 1114425 w 4265214"/>
                  <a:gd name="connsiteY18" fmla="*/ 3019425 h 4114800"/>
                  <a:gd name="connsiteX19" fmla="*/ 933450 w 4265214"/>
                  <a:gd name="connsiteY19" fmla="*/ 2733675 h 4114800"/>
                  <a:gd name="connsiteX20" fmla="*/ 619125 w 4265214"/>
                  <a:gd name="connsiteY20" fmla="*/ 2476500 h 4114800"/>
                  <a:gd name="connsiteX21" fmla="*/ 447675 w 4265214"/>
                  <a:gd name="connsiteY21" fmla="*/ 2571750 h 4114800"/>
                  <a:gd name="connsiteX22" fmla="*/ 152400 w 4265214"/>
                  <a:gd name="connsiteY22" fmla="*/ 2333625 h 4114800"/>
                  <a:gd name="connsiteX23" fmla="*/ 142875 w 4265214"/>
                  <a:gd name="connsiteY23" fmla="*/ 2305050 h 4114800"/>
                  <a:gd name="connsiteX0" fmla="*/ 0 w 4257100"/>
                  <a:gd name="connsiteY0" fmla="*/ 0 h 4114800"/>
                  <a:gd name="connsiteX1" fmla="*/ 1190625 w 4257100"/>
                  <a:gd name="connsiteY1" fmla="*/ 990600 h 4114800"/>
                  <a:gd name="connsiteX2" fmla="*/ 1095375 w 4257100"/>
                  <a:gd name="connsiteY2" fmla="*/ 1152525 h 4114800"/>
                  <a:gd name="connsiteX3" fmla="*/ 1371600 w 4257100"/>
                  <a:gd name="connsiteY3" fmla="*/ 1390650 h 4114800"/>
                  <a:gd name="connsiteX4" fmla="*/ 1276350 w 4257100"/>
                  <a:gd name="connsiteY4" fmla="*/ 1552575 h 4114800"/>
                  <a:gd name="connsiteX5" fmla="*/ 1590675 w 4257100"/>
                  <a:gd name="connsiteY5" fmla="*/ 1762125 h 4114800"/>
                  <a:gd name="connsiteX6" fmla="*/ 1885950 w 4257100"/>
                  <a:gd name="connsiteY6" fmla="*/ 1743075 h 4114800"/>
                  <a:gd name="connsiteX7" fmla="*/ 1562100 w 4257100"/>
                  <a:gd name="connsiteY7" fmla="*/ 2362200 h 4114800"/>
                  <a:gd name="connsiteX8" fmla="*/ 2524125 w 4257100"/>
                  <a:gd name="connsiteY8" fmla="*/ 2162175 h 4114800"/>
                  <a:gd name="connsiteX9" fmla="*/ 2838450 w 4257100"/>
                  <a:gd name="connsiteY9" fmla="*/ 2228850 h 4114800"/>
                  <a:gd name="connsiteX10" fmla="*/ 4133850 w 4257100"/>
                  <a:gd name="connsiteY10" fmla="*/ 3181350 h 4114800"/>
                  <a:gd name="connsiteX11" fmla="*/ 3810000 w 4257100"/>
                  <a:gd name="connsiteY11" fmla="*/ 3562350 h 4114800"/>
                  <a:gd name="connsiteX12" fmla="*/ 3438525 w 4257100"/>
                  <a:gd name="connsiteY12" fmla="*/ 3829050 h 4114800"/>
                  <a:gd name="connsiteX13" fmla="*/ 3124200 w 4257100"/>
                  <a:gd name="connsiteY13" fmla="*/ 4114800 h 4114800"/>
                  <a:gd name="connsiteX14" fmla="*/ 2514600 w 4257100"/>
                  <a:gd name="connsiteY14" fmla="*/ 4114800 h 4114800"/>
                  <a:gd name="connsiteX15" fmla="*/ 2257425 w 4257100"/>
                  <a:gd name="connsiteY15" fmla="*/ 3695700 h 4114800"/>
                  <a:gd name="connsiteX16" fmla="*/ 1828800 w 4257100"/>
                  <a:gd name="connsiteY16" fmla="*/ 3409950 h 4114800"/>
                  <a:gd name="connsiteX17" fmla="*/ 1476375 w 4257100"/>
                  <a:gd name="connsiteY17" fmla="*/ 3171825 h 4114800"/>
                  <a:gd name="connsiteX18" fmla="*/ 1114425 w 4257100"/>
                  <a:gd name="connsiteY18" fmla="*/ 3019425 h 4114800"/>
                  <a:gd name="connsiteX19" fmla="*/ 933450 w 4257100"/>
                  <a:gd name="connsiteY19" fmla="*/ 2733675 h 4114800"/>
                  <a:gd name="connsiteX20" fmla="*/ 619125 w 4257100"/>
                  <a:gd name="connsiteY20" fmla="*/ 2476500 h 4114800"/>
                  <a:gd name="connsiteX21" fmla="*/ 447675 w 4257100"/>
                  <a:gd name="connsiteY21" fmla="*/ 2571750 h 4114800"/>
                  <a:gd name="connsiteX22" fmla="*/ 152400 w 4257100"/>
                  <a:gd name="connsiteY22" fmla="*/ 2333625 h 4114800"/>
                  <a:gd name="connsiteX23" fmla="*/ 142875 w 4257100"/>
                  <a:gd name="connsiteY23" fmla="*/ 2305050 h 4114800"/>
                  <a:gd name="connsiteX0" fmla="*/ 0 w 4257100"/>
                  <a:gd name="connsiteY0" fmla="*/ 0 h 4114800"/>
                  <a:gd name="connsiteX1" fmla="*/ 1190625 w 4257100"/>
                  <a:gd name="connsiteY1" fmla="*/ 990600 h 4114800"/>
                  <a:gd name="connsiteX2" fmla="*/ 1095375 w 4257100"/>
                  <a:gd name="connsiteY2" fmla="*/ 1152525 h 4114800"/>
                  <a:gd name="connsiteX3" fmla="*/ 1371600 w 4257100"/>
                  <a:gd name="connsiteY3" fmla="*/ 1390650 h 4114800"/>
                  <a:gd name="connsiteX4" fmla="*/ 1276350 w 4257100"/>
                  <a:gd name="connsiteY4" fmla="*/ 1552575 h 4114800"/>
                  <a:gd name="connsiteX5" fmla="*/ 1590675 w 4257100"/>
                  <a:gd name="connsiteY5" fmla="*/ 1762125 h 4114800"/>
                  <a:gd name="connsiteX6" fmla="*/ 1885950 w 4257100"/>
                  <a:gd name="connsiteY6" fmla="*/ 1743075 h 4114800"/>
                  <a:gd name="connsiteX7" fmla="*/ 1562100 w 4257100"/>
                  <a:gd name="connsiteY7" fmla="*/ 2362200 h 4114800"/>
                  <a:gd name="connsiteX8" fmla="*/ 2524125 w 4257100"/>
                  <a:gd name="connsiteY8" fmla="*/ 2162175 h 4114800"/>
                  <a:gd name="connsiteX9" fmla="*/ 2838450 w 4257100"/>
                  <a:gd name="connsiteY9" fmla="*/ 2228850 h 4114800"/>
                  <a:gd name="connsiteX10" fmla="*/ 4133850 w 4257100"/>
                  <a:gd name="connsiteY10" fmla="*/ 3181350 h 4114800"/>
                  <a:gd name="connsiteX11" fmla="*/ 3810000 w 4257100"/>
                  <a:gd name="connsiteY11" fmla="*/ 3562350 h 4114800"/>
                  <a:gd name="connsiteX12" fmla="*/ 3438525 w 4257100"/>
                  <a:gd name="connsiteY12" fmla="*/ 3829050 h 4114800"/>
                  <a:gd name="connsiteX13" fmla="*/ 3124200 w 4257100"/>
                  <a:gd name="connsiteY13" fmla="*/ 4114800 h 4114800"/>
                  <a:gd name="connsiteX14" fmla="*/ 2514600 w 4257100"/>
                  <a:gd name="connsiteY14" fmla="*/ 4114800 h 4114800"/>
                  <a:gd name="connsiteX15" fmla="*/ 2257425 w 4257100"/>
                  <a:gd name="connsiteY15" fmla="*/ 3695700 h 4114800"/>
                  <a:gd name="connsiteX16" fmla="*/ 1828800 w 4257100"/>
                  <a:gd name="connsiteY16" fmla="*/ 3409950 h 4114800"/>
                  <a:gd name="connsiteX17" fmla="*/ 1476375 w 4257100"/>
                  <a:gd name="connsiteY17" fmla="*/ 3171825 h 4114800"/>
                  <a:gd name="connsiteX18" fmla="*/ 1114425 w 4257100"/>
                  <a:gd name="connsiteY18" fmla="*/ 3019425 h 4114800"/>
                  <a:gd name="connsiteX19" fmla="*/ 933450 w 4257100"/>
                  <a:gd name="connsiteY19" fmla="*/ 2733675 h 4114800"/>
                  <a:gd name="connsiteX20" fmla="*/ 619125 w 4257100"/>
                  <a:gd name="connsiteY20" fmla="*/ 2476500 h 4114800"/>
                  <a:gd name="connsiteX21" fmla="*/ 447675 w 4257100"/>
                  <a:gd name="connsiteY21" fmla="*/ 2571750 h 4114800"/>
                  <a:gd name="connsiteX22" fmla="*/ 152400 w 4257100"/>
                  <a:gd name="connsiteY22" fmla="*/ 2333625 h 4114800"/>
                  <a:gd name="connsiteX23" fmla="*/ 142875 w 4257100"/>
                  <a:gd name="connsiteY23" fmla="*/ 2305050 h 4114800"/>
                  <a:gd name="connsiteX0" fmla="*/ 0 w 4257100"/>
                  <a:gd name="connsiteY0" fmla="*/ 0 h 4138481"/>
                  <a:gd name="connsiteX1" fmla="*/ 1190625 w 4257100"/>
                  <a:gd name="connsiteY1" fmla="*/ 990600 h 4138481"/>
                  <a:gd name="connsiteX2" fmla="*/ 1095375 w 4257100"/>
                  <a:gd name="connsiteY2" fmla="*/ 1152525 h 4138481"/>
                  <a:gd name="connsiteX3" fmla="*/ 1371600 w 4257100"/>
                  <a:gd name="connsiteY3" fmla="*/ 1390650 h 4138481"/>
                  <a:gd name="connsiteX4" fmla="*/ 1276350 w 4257100"/>
                  <a:gd name="connsiteY4" fmla="*/ 1552575 h 4138481"/>
                  <a:gd name="connsiteX5" fmla="*/ 1590675 w 4257100"/>
                  <a:gd name="connsiteY5" fmla="*/ 1762125 h 4138481"/>
                  <a:gd name="connsiteX6" fmla="*/ 1885950 w 4257100"/>
                  <a:gd name="connsiteY6" fmla="*/ 1743075 h 4138481"/>
                  <a:gd name="connsiteX7" fmla="*/ 1562100 w 4257100"/>
                  <a:gd name="connsiteY7" fmla="*/ 2362200 h 4138481"/>
                  <a:gd name="connsiteX8" fmla="*/ 2524125 w 4257100"/>
                  <a:gd name="connsiteY8" fmla="*/ 2162175 h 4138481"/>
                  <a:gd name="connsiteX9" fmla="*/ 2838450 w 4257100"/>
                  <a:gd name="connsiteY9" fmla="*/ 2228850 h 4138481"/>
                  <a:gd name="connsiteX10" fmla="*/ 4133850 w 4257100"/>
                  <a:gd name="connsiteY10" fmla="*/ 3181350 h 4138481"/>
                  <a:gd name="connsiteX11" fmla="*/ 3810000 w 4257100"/>
                  <a:gd name="connsiteY11" fmla="*/ 3562350 h 4138481"/>
                  <a:gd name="connsiteX12" fmla="*/ 3438525 w 4257100"/>
                  <a:gd name="connsiteY12" fmla="*/ 3829050 h 4138481"/>
                  <a:gd name="connsiteX13" fmla="*/ 3124200 w 4257100"/>
                  <a:gd name="connsiteY13" fmla="*/ 4114800 h 4138481"/>
                  <a:gd name="connsiteX14" fmla="*/ 2514600 w 4257100"/>
                  <a:gd name="connsiteY14" fmla="*/ 4114800 h 4138481"/>
                  <a:gd name="connsiteX15" fmla="*/ 2257425 w 4257100"/>
                  <a:gd name="connsiteY15" fmla="*/ 3695700 h 4138481"/>
                  <a:gd name="connsiteX16" fmla="*/ 1828800 w 4257100"/>
                  <a:gd name="connsiteY16" fmla="*/ 3409950 h 4138481"/>
                  <a:gd name="connsiteX17" fmla="*/ 1476375 w 4257100"/>
                  <a:gd name="connsiteY17" fmla="*/ 3171825 h 4138481"/>
                  <a:gd name="connsiteX18" fmla="*/ 1114425 w 4257100"/>
                  <a:gd name="connsiteY18" fmla="*/ 3019425 h 4138481"/>
                  <a:gd name="connsiteX19" fmla="*/ 933450 w 4257100"/>
                  <a:gd name="connsiteY19" fmla="*/ 2733675 h 4138481"/>
                  <a:gd name="connsiteX20" fmla="*/ 619125 w 4257100"/>
                  <a:gd name="connsiteY20" fmla="*/ 2476500 h 4138481"/>
                  <a:gd name="connsiteX21" fmla="*/ 447675 w 4257100"/>
                  <a:gd name="connsiteY21" fmla="*/ 2571750 h 4138481"/>
                  <a:gd name="connsiteX22" fmla="*/ 152400 w 4257100"/>
                  <a:gd name="connsiteY22" fmla="*/ 2333625 h 4138481"/>
                  <a:gd name="connsiteX23" fmla="*/ 142875 w 4257100"/>
                  <a:gd name="connsiteY23" fmla="*/ 2305050 h 4138481"/>
                  <a:gd name="connsiteX0" fmla="*/ 0 w 4257100"/>
                  <a:gd name="connsiteY0" fmla="*/ 0 h 4199466"/>
                  <a:gd name="connsiteX1" fmla="*/ 1190625 w 4257100"/>
                  <a:gd name="connsiteY1" fmla="*/ 990600 h 4199466"/>
                  <a:gd name="connsiteX2" fmla="*/ 1095375 w 4257100"/>
                  <a:gd name="connsiteY2" fmla="*/ 1152525 h 4199466"/>
                  <a:gd name="connsiteX3" fmla="*/ 1371600 w 4257100"/>
                  <a:gd name="connsiteY3" fmla="*/ 1390650 h 4199466"/>
                  <a:gd name="connsiteX4" fmla="*/ 1276350 w 4257100"/>
                  <a:gd name="connsiteY4" fmla="*/ 1552575 h 4199466"/>
                  <a:gd name="connsiteX5" fmla="*/ 1590675 w 4257100"/>
                  <a:gd name="connsiteY5" fmla="*/ 1762125 h 4199466"/>
                  <a:gd name="connsiteX6" fmla="*/ 1885950 w 4257100"/>
                  <a:gd name="connsiteY6" fmla="*/ 1743075 h 4199466"/>
                  <a:gd name="connsiteX7" fmla="*/ 1562100 w 4257100"/>
                  <a:gd name="connsiteY7" fmla="*/ 2362200 h 4199466"/>
                  <a:gd name="connsiteX8" fmla="*/ 2524125 w 4257100"/>
                  <a:gd name="connsiteY8" fmla="*/ 2162175 h 4199466"/>
                  <a:gd name="connsiteX9" fmla="*/ 2838450 w 4257100"/>
                  <a:gd name="connsiteY9" fmla="*/ 2228850 h 4199466"/>
                  <a:gd name="connsiteX10" fmla="*/ 4133850 w 4257100"/>
                  <a:gd name="connsiteY10" fmla="*/ 3181350 h 4199466"/>
                  <a:gd name="connsiteX11" fmla="*/ 3810000 w 4257100"/>
                  <a:gd name="connsiteY11" fmla="*/ 3562350 h 4199466"/>
                  <a:gd name="connsiteX12" fmla="*/ 3438525 w 4257100"/>
                  <a:gd name="connsiteY12" fmla="*/ 3829050 h 4199466"/>
                  <a:gd name="connsiteX13" fmla="*/ 3124200 w 4257100"/>
                  <a:gd name="connsiteY13" fmla="*/ 4114800 h 4199466"/>
                  <a:gd name="connsiteX14" fmla="*/ 2514600 w 4257100"/>
                  <a:gd name="connsiteY14" fmla="*/ 4114800 h 4199466"/>
                  <a:gd name="connsiteX15" fmla="*/ 2257425 w 4257100"/>
                  <a:gd name="connsiteY15" fmla="*/ 3695700 h 4199466"/>
                  <a:gd name="connsiteX16" fmla="*/ 1828800 w 4257100"/>
                  <a:gd name="connsiteY16" fmla="*/ 3409950 h 4199466"/>
                  <a:gd name="connsiteX17" fmla="*/ 1476375 w 4257100"/>
                  <a:gd name="connsiteY17" fmla="*/ 3171825 h 4199466"/>
                  <a:gd name="connsiteX18" fmla="*/ 1114425 w 4257100"/>
                  <a:gd name="connsiteY18" fmla="*/ 3019425 h 4199466"/>
                  <a:gd name="connsiteX19" fmla="*/ 933450 w 4257100"/>
                  <a:gd name="connsiteY19" fmla="*/ 2733675 h 4199466"/>
                  <a:gd name="connsiteX20" fmla="*/ 619125 w 4257100"/>
                  <a:gd name="connsiteY20" fmla="*/ 2476500 h 4199466"/>
                  <a:gd name="connsiteX21" fmla="*/ 447675 w 4257100"/>
                  <a:gd name="connsiteY21" fmla="*/ 2571750 h 4199466"/>
                  <a:gd name="connsiteX22" fmla="*/ 152400 w 4257100"/>
                  <a:gd name="connsiteY22" fmla="*/ 2333625 h 4199466"/>
                  <a:gd name="connsiteX23" fmla="*/ 142875 w 4257100"/>
                  <a:gd name="connsiteY23" fmla="*/ 2305050 h 4199466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19125 w 4257100"/>
                  <a:gd name="connsiteY20" fmla="*/ 2476500 h 4250625"/>
                  <a:gd name="connsiteX21" fmla="*/ 447675 w 4257100"/>
                  <a:gd name="connsiteY21" fmla="*/ 2571750 h 4250625"/>
                  <a:gd name="connsiteX22" fmla="*/ 152400 w 4257100"/>
                  <a:gd name="connsiteY22" fmla="*/ 2333625 h 4250625"/>
                  <a:gd name="connsiteX23" fmla="*/ 142875 w 4257100"/>
                  <a:gd name="connsiteY23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19125 w 4257100"/>
                  <a:gd name="connsiteY20" fmla="*/ 2476500 h 4250625"/>
                  <a:gd name="connsiteX21" fmla="*/ 581025 w 4257100"/>
                  <a:gd name="connsiteY21" fmla="*/ 2676525 h 4250625"/>
                  <a:gd name="connsiteX22" fmla="*/ 152400 w 4257100"/>
                  <a:gd name="connsiteY22" fmla="*/ 2333625 h 4250625"/>
                  <a:gd name="connsiteX23" fmla="*/ 142875 w 4257100"/>
                  <a:gd name="connsiteY23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152400 w 4257100"/>
                  <a:gd name="connsiteY22" fmla="*/ 2333625 h 4250625"/>
                  <a:gd name="connsiteX23" fmla="*/ 142875 w 4257100"/>
                  <a:gd name="connsiteY23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142875 w 4257100"/>
                  <a:gd name="connsiteY22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503045 w 4257100"/>
                  <a:gd name="connsiteY17" fmla="*/ 317563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503045 w 4257100"/>
                  <a:gd name="connsiteY17" fmla="*/ 317563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491615 w 4257100"/>
                  <a:gd name="connsiteY17" fmla="*/ 317563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319488"/>
                  <a:gd name="connsiteY0" fmla="*/ 0 h 4250625"/>
                  <a:gd name="connsiteX1" fmla="*/ 1190625 w 4319488"/>
                  <a:gd name="connsiteY1" fmla="*/ 990600 h 4250625"/>
                  <a:gd name="connsiteX2" fmla="*/ 1095375 w 4319488"/>
                  <a:gd name="connsiteY2" fmla="*/ 1152525 h 4250625"/>
                  <a:gd name="connsiteX3" fmla="*/ 1371600 w 4319488"/>
                  <a:gd name="connsiteY3" fmla="*/ 1390650 h 4250625"/>
                  <a:gd name="connsiteX4" fmla="*/ 1276350 w 4319488"/>
                  <a:gd name="connsiteY4" fmla="*/ 1552575 h 4250625"/>
                  <a:gd name="connsiteX5" fmla="*/ 1590675 w 4319488"/>
                  <a:gd name="connsiteY5" fmla="*/ 1762125 h 4250625"/>
                  <a:gd name="connsiteX6" fmla="*/ 1863090 w 4319488"/>
                  <a:gd name="connsiteY6" fmla="*/ 1735455 h 4250625"/>
                  <a:gd name="connsiteX7" fmla="*/ 1584960 w 4319488"/>
                  <a:gd name="connsiteY7" fmla="*/ 2419350 h 4250625"/>
                  <a:gd name="connsiteX8" fmla="*/ 2493645 w 4319488"/>
                  <a:gd name="connsiteY8" fmla="*/ 2150745 h 4250625"/>
                  <a:gd name="connsiteX9" fmla="*/ 2838450 w 4319488"/>
                  <a:gd name="connsiteY9" fmla="*/ 2228850 h 4250625"/>
                  <a:gd name="connsiteX10" fmla="*/ 4210050 w 4319488"/>
                  <a:gd name="connsiteY10" fmla="*/ 3192780 h 4250625"/>
                  <a:gd name="connsiteX11" fmla="*/ 3810000 w 4319488"/>
                  <a:gd name="connsiteY11" fmla="*/ 3562350 h 4250625"/>
                  <a:gd name="connsiteX12" fmla="*/ 3438525 w 4319488"/>
                  <a:gd name="connsiteY12" fmla="*/ 3829050 h 4250625"/>
                  <a:gd name="connsiteX13" fmla="*/ 3124200 w 4319488"/>
                  <a:gd name="connsiteY13" fmla="*/ 4114800 h 4250625"/>
                  <a:gd name="connsiteX14" fmla="*/ 2514600 w 4319488"/>
                  <a:gd name="connsiteY14" fmla="*/ 4114800 h 4250625"/>
                  <a:gd name="connsiteX15" fmla="*/ 2257425 w 4319488"/>
                  <a:gd name="connsiteY15" fmla="*/ 3695700 h 4250625"/>
                  <a:gd name="connsiteX16" fmla="*/ 1905000 w 4319488"/>
                  <a:gd name="connsiteY16" fmla="*/ 3421380 h 4250625"/>
                  <a:gd name="connsiteX17" fmla="*/ 1491615 w 4319488"/>
                  <a:gd name="connsiteY17" fmla="*/ 3133725 h 4250625"/>
                  <a:gd name="connsiteX18" fmla="*/ 1099185 w 4319488"/>
                  <a:gd name="connsiteY18" fmla="*/ 3011805 h 4250625"/>
                  <a:gd name="connsiteX19" fmla="*/ 933450 w 4319488"/>
                  <a:gd name="connsiteY19" fmla="*/ 2733675 h 4250625"/>
                  <a:gd name="connsiteX20" fmla="*/ 666750 w 4319488"/>
                  <a:gd name="connsiteY20" fmla="*/ 2543175 h 4250625"/>
                  <a:gd name="connsiteX21" fmla="*/ 581025 w 4319488"/>
                  <a:gd name="connsiteY21" fmla="*/ 2676525 h 4250625"/>
                  <a:gd name="connsiteX22" fmla="*/ 200025 w 4319488"/>
                  <a:gd name="connsiteY22" fmla="*/ 2457450 h 4250625"/>
                  <a:gd name="connsiteX0" fmla="*/ 0 w 4319488"/>
                  <a:gd name="connsiteY0" fmla="*/ 0 h 4250625"/>
                  <a:gd name="connsiteX1" fmla="*/ 1190625 w 4319488"/>
                  <a:gd name="connsiteY1" fmla="*/ 990600 h 4250625"/>
                  <a:gd name="connsiteX2" fmla="*/ 1095375 w 4319488"/>
                  <a:gd name="connsiteY2" fmla="*/ 1152525 h 4250625"/>
                  <a:gd name="connsiteX3" fmla="*/ 1371600 w 4319488"/>
                  <a:gd name="connsiteY3" fmla="*/ 1390650 h 4250625"/>
                  <a:gd name="connsiteX4" fmla="*/ 1276350 w 4319488"/>
                  <a:gd name="connsiteY4" fmla="*/ 1552575 h 4250625"/>
                  <a:gd name="connsiteX5" fmla="*/ 1590675 w 4319488"/>
                  <a:gd name="connsiteY5" fmla="*/ 1762125 h 4250625"/>
                  <a:gd name="connsiteX6" fmla="*/ 1863090 w 4319488"/>
                  <a:gd name="connsiteY6" fmla="*/ 1735455 h 4250625"/>
                  <a:gd name="connsiteX7" fmla="*/ 1584960 w 4319488"/>
                  <a:gd name="connsiteY7" fmla="*/ 2419350 h 4250625"/>
                  <a:gd name="connsiteX8" fmla="*/ 2493645 w 4319488"/>
                  <a:gd name="connsiteY8" fmla="*/ 2150745 h 4250625"/>
                  <a:gd name="connsiteX9" fmla="*/ 2838450 w 4319488"/>
                  <a:gd name="connsiteY9" fmla="*/ 2228850 h 4250625"/>
                  <a:gd name="connsiteX10" fmla="*/ 4210050 w 4319488"/>
                  <a:gd name="connsiteY10" fmla="*/ 3192780 h 4250625"/>
                  <a:gd name="connsiteX11" fmla="*/ 3810000 w 4319488"/>
                  <a:gd name="connsiteY11" fmla="*/ 3562350 h 4250625"/>
                  <a:gd name="connsiteX12" fmla="*/ 3438525 w 4319488"/>
                  <a:gd name="connsiteY12" fmla="*/ 3829050 h 4250625"/>
                  <a:gd name="connsiteX13" fmla="*/ 3124200 w 4319488"/>
                  <a:gd name="connsiteY13" fmla="*/ 4114800 h 4250625"/>
                  <a:gd name="connsiteX14" fmla="*/ 2514600 w 4319488"/>
                  <a:gd name="connsiteY14" fmla="*/ 4114800 h 4250625"/>
                  <a:gd name="connsiteX15" fmla="*/ 2257425 w 4319488"/>
                  <a:gd name="connsiteY15" fmla="*/ 3695700 h 4250625"/>
                  <a:gd name="connsiteX16" fmla="*/ 1905000 w 4319488"/>
                  <a:gd name="connsiteY16" fmla="*/ 3421380 h 4250625"/>
                  <a:gd name="connsiteX17" fmla="*/ 1491615 w 4319488"/>
                  <a:gd name="connsiteY17" fmla="*/ 3133725 h 4250625"/>
                  <a:gd name="connsiteX18" fmla="*/ 1099185 w 4319488"/>
                  <a:gd name="connsiteY18" fmla="*/ 3011805 h 4250625"/>
                  <a:gd name="connsiteX19" fmla="*/ 933450 w 4319488"/>
                  <a:gd name="connsiteY19" fmla="*/ 2733675 h 4250625"/>
                  <a:gd name="connsiteX20" fmla="*/ 666750 w 4319488"/>
                  <a:gd name="connsiteY20" fmla="*/ 2543175 h 4250625"/>
                  <a:gd name="connsiteX21" fmla="*/ 581025 w 4319488"/>
                  <a:gd name="connsiteY21" fmla="*/ 2676525 h 4250625"/>
                  <a:gd name="connsiteX22" fmla="*/ 200025 w 4319488"/>
                  <a:gd name="connsiteY22" fmla="*/ 2457450 h 4250625"/>
                  <a:gd name="connsiteX0" fmla="*/ 0 w 4274847"/>
                  <a:gd name="connsiteY0" fmla="*/ 0 h 4250625"/>
                  <a:gd name="connsiteX1" fmla="*/ 1190625 w 4274847"/>
                  <a:gd name="connsiteY1" fmla="*/ 990600 h 4250625"/>
                  <a:gd name="connsiteX2" fmla="*/ 1095375 w 4274847"/>
                  <a:gd name="connsiteY2" fmla="*/ 1152525 h 4250625"/>
                  <a:gd name="connsiteX3" fmla="*/ 1371600 w 4274847"/>
                  <a:gd name="connsiteY3" fmla="*/ 1390650 h 4250625"/>
                  <a:gd name="connsiteX4" fmla="*/ 1276350 w 4274847"/>
                  <a:gd name="connsiteY4" fmla="*/ 1552575 h 4250625"/>
                  <a:gd name="connsiteX5" fmla="*/ 1590675 w 4274847"/>
                  <a:gd name="connsiteY5" fmla="*/ 1762125 h 4250625"/>
                  <a:gd name="connsiteX6" fmla="*/ 1863090 w 4274847"/>
                  <a:gd name="connsiteY6" fmla="*/ 1735455 h 4250625"/>
                  <a:gd name="connsiteX7" fmla="*/ 1584960 w 4274847"/>
                  <a:gd name="connsiteY7" fmla="*/ 2419350 h 4250625"/>
                  <a:gd name="connsiteX8" fmla="*/ 2493645 w 4274847"/>
                  <a:gd name="connsiteY8" fmla="*/ 2150745 h 4250625"/>
                  <a:gd name="connsiteX9" fmla="*/ 2838450 w 4274847"/>
                  <a:gd name="connsiteY9" fmla="*/ 2228850 h 4250625"/>
                  <a:gd name="connsiteX10" fmla="*/ 4210050 w 4274847"/>
                  <a:gd name="connsiteY10" fmla="*/ 3192780 h 4250625"/>
                  <a:gd name="connsiteX11" fmla="*/ 3810000 w 4274847"/>
                  <a:gd name="connsiteY11" fmla="*/ 3562350 h 4250625"/>
                  <a:gd name="connsiteX12" fmla="*/ 3438525 w 4274847"/>
                  <a:gd name="connsiteY12" fmla="*/ 3829050 h 4250625"/>
                  <a:gd name="connsiteX13" fmla="*/ 3124200 w 4274847"/>
                  <a:gd name="connsiteY13" fmla="*/ 4114800 h 4250625"/>
                  <a:gd name="connsiteX14" fmla="*/ 2514600 w 4274847"/>
                  <a:gd name="connsiteY14" fmla="*/ 4114800 h 4250625"/>
                  <a:gd name="connsiteX15" fmla="*/ 2257425 w 4274847"/>
                  <a:gd name="connsiteY15" fmla="*/ 3695700 h 4250625"/>
                  <a:gd name="connsiteX16" fmla="*/ 1905000 w 4274847"/>
                  <a:gd name="connsiteY16" fmla="*/ 3421380 h 4250625"/>
                  <a:gd name="connsiteX17" fmla="*/ 1491615 w 4274847"/>
                  <a:gd name="connsiteY17" fmla="*/ 3133725 h 4250625"/>
                  <a:gd name="connsiteX18" fmla="*/ 1099185 w 4274847"/>
                  <a:gd name="connsiteY18" fmla="*/ 3011805 h 4250625"/>
                  <a:gd name="connsiteX19" fmla="*/ 933450 w 4274847"/>
                  <a:gd name="connsiteY19" fmla="*/ 2733675 h 4250625"/>
                  <a:gd name="connsiteX20" fmla="*/ 666750 w 4274847"/>
                  <a:gd name="connsiteY20" fmla="*/ 2543175 h 4250625"/>
                  <a:gd name="connsiteX21" fmla="*/ 581025 w 4274847"/>
                  <a:gd name="connsiteY21" fmla="*/ 2676525 h 4250625"/>
                  <a:gd name="connsiteX22" fmla="*/ 200025 w 4274847"/>
                  <a:gd name="connsiteY22" fmla="*/ 2457450 h 4250625"/>
                  <a:gd name="connsiteX0" fmla="*/ 0 w 4283478"/>
                  <a:gd name="connsiteY0" fmla="*/ 0 h 4250625"/>
                  <a:gd name="connsiteX1" fmla="*/ 1190625 w 4283478"/>
                  <a:gd name="connsiteY1" fmla="*/ 990600 h 4250625"/>
                  <a:gd name="connsiteX2" fmla="*/ 1095375 w 4283478"/>
                  <a:gd name="connsiteY2" fmla="*/ 1152525 h 4250625"/>
                  <a:gd name="connsiteX3" fmla="*/ 1371600 w 4283478"/>
                  <a:gd name="connsiteY3" fmla="*/ 1390650 h 4250625"/>
                  <a:gd name="connsiteX4" fmla="*/ 1276350 w 4283478"/>
                  <a:gd name="connsiteY4" fmla="*/ 1552575 h 4250625"/>
                  <a:gd name="connsiteX5" fmla="*/ 1590675 w 4283478"/>
                  <a:gd name="connsiteY5" fmla="*/ 1762125 h 4250625"/>
                  <a:gd name="connsiteX6" fmla="*/ 1863090 w 4283478"/>
                  <a:gd name="connsiteY6" fmla="*/ 1735455 h 4250625"/>
                  <a:gd name="connsiteX7" fmla="*/ 1584960 w 4283478"/>
                  <a:gd name="connsiteY7" fmla="*/ 2419350 h 4250625"/>
                  <a:gd name="connsiteX8" fmla="*/ 2493645 w 4283478"/>
                  <a:gd name="connsiteY8" fmla="*/ 2150745 h 4250625"/>
                  <a:gd name="connsiteX9" fmla="*/ 2838450 w 4283478"/>
                  <a:gd name="connsiteY9" fmla="*/ 2228850 h 4250625"/>
                  <a:gd name="connsiteX10" fmla="*/ 4210050 w 4283478"/>
                  <a:gd name="connsiteY10" fmla="*/ 3192780 h 4250625"/>
                  <a:gd name="connsiteX11" fmla="*/ 3867150 w 4283478"/>
                  <a:gd name="connsiteY11" fmla="*/ 3558540 h 4250625"/>
                  <a:gd name="connsiteX12" fmla="*/ 3438525 w 4283478"/>
                  <a:gd name="connsiteY12" fmla="*/ 3829050 h 4250625"/>
                  <a:gd name="connsiteX13" fmla="*/ 3124200 w 4283478"/>
                  <a:gd name="connsiteY13" fmla="*/ 4114800 h 4250625"/>
                  <a:gd name="connsiteX14" fmla="*/ 2514600 w 4283478"/>
                  <a:gd name="connsiteY14" fmla="*/ 4114800 h 4250625"/>
                  <a:gd name="connsiteX15" fmla="*/ 2257425 w 4283478"/>
                  <a:gd name="connsiteY15" fmla="*/ 3695700 h 4250625"/>
                  <a:gd name="connsiteX16" fmla="*/ 1905000 w 4283478"/>
                  <a:gd name="connsiteY16" fmla="*/ 3421380 h 4250625"/>
                  <a:gd name="connsiteX17" fmla="*/ 1491615 w 4283478"/>
                  <a:gd name="connsiteY17" fmla="*/ 3133725 h 4250625"/>
                  <a:gd name="connsiteX18" fmla="*/ 1099185 w 4283478"/>
                  <a:gd name="connsiteY18" fmla="*/ 3011805 h 4250625"/>
                  <a:gd name="connsiteX19" fmla="*/ 933450 w 4283478"/>
                  <a:gd name="connsiteY19" fmla="*/ 2733675 h 4250625"/>
                  <a:gd name="connsiteX20" fmla="*/ 666750 w 4283478"/>
                  <a:gd name="connsiteY20" fmla="*/ 2543175 h 4250625"/>
                  <a:gd name="connsiteX21" fmla="*/ 581025 w 4283478"/>
                  <a:gd name="connsiteY21" fmla="*/ 2676525 h 4250625"/>
                  <a:gd name="connsiteX22" fmla="*/ 200025 w 4283478"/>
                  <a:gd name="connsiteY22" fmla="*/ 2457450 h 4250625"/>
                  <a:gd name="connsiteX0" fmla="*/ 0 w 4277041"/>
                  <a:gd name="connsiteY0" fmla="*/ 0 h 4250625"/>
                  <a:gd name="connsiteX1" fmla="*/ 1190625 w 4277041"/>
                  <a:gd name="connsiteY1" fmla="*/ 990600 h 4250625"/>
                  <a:gd name="connsiteX2" fmla="*/ 1095375 w 4277041"/>
                  <a:gd name="connsiteY2" fmla="*/ 1152525 h 4250625"/>
                  <a:gd name="connsiteX3" fmla="*/ 1371600 w 4277041"/>
                  <a:gd name="connsiteY3" fmla="*/ 1390650 h 4250625"/>
                  <a:gd name="connsiteX4" fmla="*/ 1276350 w 4277041"/>
                  <a:gd name="connsiteY4" fmla="*/ 1552575 h 4250625"/>
                  <a:gd name="connsiteX5" fmla="*/ 1590675 w 4277041"/>
                  <a:gd name="connsiteY5" fmla="*/ 1762125 h 4250625"/>
                  <a:gd name="connsiteX6" fmla="*/ 1863090 w 4277041"/>
                  <a:gd name="connsiteY6" fmla="*/ 1735455 h 4250625"/>
                  <a:gd name="connsiteX7" fmla="*/ 1584960 w 4277041"/>
                  <a:gd name="connsiteY7" fmla="*/ 2419350 h 4250625"/>
                  <a:gd name="connsiteX8" fmla="*/ 2493645 w 4277041"/>
                  <a:gd name="connsiteY8" fmla="*/ 2150745 h 4250625"/>
                  <a:gd name="connsiteX9" fmla="*/ 2838450 w 4277041"/>
                  <a:gd name="connsiteY9" fmla="*/ 2228850 h 4250625"/>
                  <a:gd name="connsiteX10" fmla="*/ 4210050 w 4277041"/>
                  <a:gd name="connsiteY10" fmla="*/ 3192780 h 4250625"/>
                  <a:gd name="connsiteX11" fmla="*/ 3867150 w 4277041"/>
                  <a:gd name="connsiteY11" fmla="*/ 3558540 h 4250625"/>
                  <a:gd name="connsiteX12" fmla="*/ 3438525 w 4277041"/>
                  <a:gd name="connsiteY12" fmla="*/ 3829050 h 4250625"/>
                  <a:gd name="connsiteX13" fmla="*/ 3124200 w 4277041"/>
                  <a:gd name="connsiteY13" fmla="*/ 4114800 h 4250625"/>
                  <a:gd name="connsiteX14" fmla="*/ 2514600 w 4277041"/>
                  <a:gd name="connsiteY14" fmla="*/ 4114800 h 4250625"/>
                  <a:gd name="connsiteX15" fmla="*/ 2257425 w 4277041"/>
                  <a:gd name="connsiteY15" fmla="*/ 3695700 h 4250625"/>
                  <a:gd name="connsiteX16" fmla="*/ 1905000 w 4277041"/>
                  <a:gd name="connsiteY16" fmla="*/ 3421380 h 4250625"/>
                  <a:gd name="connsiteX17" fmla="*/ 1491615 w 4277041"/>
                  <a:gd name="connsiteY17" fmla="*/ 3133725 h 4250625"/>
                  <a:gd name="connsiteX18" fmla="*/ 1099185 w 4277041"/>
                  <a:gd name="connsiteY18" fmla="*/ 3011805 h 4250625"/>
                  <a:gd name="connsiteX19" fmla="*/ 933450 w 4277041"/>
                  <a:gd name="connsiteY19" fmla="*/ 2733675 h 4250625"/>
                  <a:gd name="connsiteX20" fmla="*/ 666750 w 4277041"/>
                  <a:gd name="connsiteY20" fmla="*/ 2543175 h 4250625"/>
                  <a:gd name="connsiteX21" fmla="*/ 581025 w 4277041"/>
                  <a:gd name="connsiteY21" fmla="*/ 2676525 h 4250625"/>
                  <a:gd name="connsiteX22" fmla="*/ 200025 w 4277041"/>
                  <a:gd name="connsiteY22" fmla="*/ 2457450 h 4250625"/>
                  <a:gd name="connsiteX0" fmla="*/ 0 w 4248076"/>
                  <a:gd name="connsiteY0" fmla="*/ 0 h 4250625"/>
                  <a:gd name="connsiteX1" fmla="*/ 1190625 w 4248076"/>
                  <a:gd name="connsiteY1" fmla="*/ 990600 h 4250625"/>
                  <a:gd name="connsiteX2" fmla="*/ 1095375 w 4248076"/>
                  <a:gd name="connsiteY2" fmla="*/ 1152525 h 4250625"/>
                  <a:gd name="connsiteX3" fmla="*/ 1371600 w 4248076"/>
                  <a:gd name="connsiteY3" fmla="*/ 1390650 h 4250625"/>
                  <a:gd name="connsiteX4" fmla="*/ 1276350 w 4248076"/>
                  <a:gd name="connsiteY4" fmla="*/ 1552575 h 4250625"/>
                  <a:gd name="connsiteX5" fmla="*/ 1590675 w 4248076"/>
                  <a:gd name="connsiteY5" fmla="*/ 1762125 h 4250625"/>
                  <a:gd name="connsiteX6" fmla="*/ 1863090 w 4248076"/>
                  <a:gd name="connsiteY6" fmla="*/ 1735455 h 4250625"/>
                  <a:gd name="connsiteX7" fmla="*/ 1584960 w 4248076"/>
                  <a:gd name="connsiteY7" fmla="*/ 2419350 h 4250625"/>
                  <a:gd name="connsiteX8" fmla="*/ 2493645 w 4248076"/>
                  <a:gd name="connsiteY8" fmla="*/ 2150745 h 4250625"/>
                  <a:gd name="connsiteX9" fmla="*/ 2838450 w 4248076"/>
                  <a:gd name="connsiteY9" fmla="*/ 2228850 h 4250625"/>
                  <a:gd name="connsiteX10" fmla="*/ 4175760 w 4248076"/>
                  <a:gd name="connsiteY10" fmla="*/ 3162300 h 4250625"/>
                  <a:gd name="connsiteX11" fmla="*/ 3867150 w 4248076"/>
                  <a:gd name="connsiteY11" fmla="*/ 3558540 h 4250625"/>
                  <a:gd name="connsiteX12" fmla="*/ 3438525 w 4248076"/>
                  <a:gd name="connsiteY12" fmla="*/ 3829050 h 4250625"/>
                  <a:gd name="connsiteX13" fmla="*/ 3124200 w 4248076"/>
                  <a:gd name="connsiteY13" fmla="*/ 4114800 h 4250625"/>
                  <a:gd name="connsiteX14" fmla="*/ 2514600 w 4248076"/>
                  <a:gd name="connsiteY14" fmla="*/ 4114800 h 4250625"/>
                  <a:gd name="connsiteX15" fmla="*/ 2257425 w 4248076"/>
                  <a:gd name="connsiteY15" fmla="*/ 3695700 h 4250625"/>
                  <a:gd name="connsiteX16" fmla="*/ 1905000 w 4248076"/>
                  <a:gd name="connsiteY16" fmla="*/ 3421380 h 4250625"/>
                  <a:gd name="connsiteX17" fmla="*/ 1491615 w 4248076"/>
                  <a:gd name="connsiteY17" fmla="*/ 3133725 h 4250625"/>
                  <a:gd name="connsiteX18" fmla="*/ 1099185 w 4248076"/>
                  <a:gd name="connsiteY18" fmla="*/ 3011805 h 4250625"/>
                  <a:gd name="connsiteX19" fmla="*/ 933450 w 4248076"/>
                  <a:gd name="connsiteY19" fmla="*/ 2733675 h 4250625"/>
                  <a:gd name="connsiteX20" fmla="*/ 666750 w 4248076"/>
                  <a:gd name="connsiteY20" fmla="*/ 2543175 h 4250625"/>
                  <a:gd name="connsiteX21" fmla="*/ 581025 w 4248076"/>
                  <a:gd name="connsiteY21" fmla="*/ 2676525 h 4250625"/>
                  <a:gd name="connsiteX22" fmla="*/ 200025 w 4248076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38525 w 4300729"/>
                  <a:gd name="connsiteY12" fmla="*/ 382905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38525 w 4300729"/>
                  <a:gd name="connsiteY12" fmla="*/ 382905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61033"/>
                  <a:gd name="connsiteX1" fmla="*/ 1190625 w 4300729"/>
                  <a:gd name="connsiteY1" fmla="*/ 990600 h 4261033"/>
                  <a:gd name="connsiteX2" fmla="*/ 1095375 w 4300729"/>
                  <a:gd name="connsiteY2" fmla="*/ 1152525 h 4261033"/>
                  <a:gd name="connsiteX3" fmla="*/ 1371600 w 4300729"/>
                  <a:gd name="connsiteY3" fmla="*/ 1390650 h 4261033"/>
                  <a:gd name="connsiteX4" fmla="*/ 1276350 w 4300729"/>
                  <a:gd name="connsiteY4" fmla="*/ 1552575 h 4261033"/>
                  <a:gd name="connsiteX5" fmla="*/ 1590675 w 4300729"/>
                  <a:gd name="connsiteY5" fmla="*/ 1762125 h 4261033"/>
                  <a:gd name="connsiteX6" fmla="*/ 1863090 w 4300729"/>
                  <a:gd name="connsiteY6" fmla="*/ 1735455 h 4261033"/>
                  <a:gd name="connsiteX7" fmla="*/ 1584960 w 4300729"/>
                  <a:gd name="connsiteY7" fmla="*/ 2419350 h 4261033"/>
                  <a:gd name="connsiteX8" fmla="*/ 2493645 w 4300729"/>
                  <a:gd name="connsiteY8" fmla="*/ 2150745 h 4261033"/>
                  <a:gd name="connsiteX9" fmla="*/ 2838450 w 4300729"/>
                  <a:gd name="connsiteY9" fmla="*/ 2228850 h 4261033"/>
                  <a:gd name="connsiteX10" fmla="*/ 4175760 w 4300729"/>
                  <a:gd name="connsiteY10" fmla="*/ 3162300 h 4261033"/>
                  <a:gd name="connsiteX11" fmla="*/ 3867150 w 4300729"/>
                  <a:gd name="connsiteY11" fmla="*/ 3558540 h 4261033"/>
                  <a:gd name="connsiteX12" fmla="*/ 3499485 w 4300729"/>
                  <a:gd name="connsiteY12" fmla="*/ 3825240 h 4261033"/>
                  <a:gd name="connsiteX13" fmla="*/ 3124200 w 4300729"/>
                  <a:gd name="connsiteY13" fmla="*/ 4114800 h 4261033"/>
                  <a:gd name="connsiteX14" fmla="*/ 2514600 w 4300729"/>
                  <a:gd name="connsiteY14" fmla="*/ 4114800 h 4261033"/>
                  <a:gd name="connsiteX15" fmla="*/ 2257425 w 4300729"/>
                  <a:gd name="connsiteY15" fmla="*/ 3695700 h 4261033"/>
                  <a:gd name="connsiteX16" fmla="*/ 1905000 w 4300729"/>
                  <a:gd name="connsiteY16" fmla="*/ 3421380 h 4261033"/>
                  <a:gd name="connsiteX17" fmla="*/ 1491615 w 4300729"/>
                  <a:gd name="connsiteY17" fmla="*/ 3133725 h 4261033"/>
                  <a:gd name="connsiteX18" fmla="*/ 1099185 w 4300729"/>
                  <a:gd name="connsiteY18" fmla="*/ 3011805 h 4261033"/>
                  <a:gd name="connsiteX19" fmla="*/ 933450 w 4300729"/>
                  <a:gd name="connsiteY19" fmla="*/ 2733675 h 4261033"/>
                  <a:gd name="connsiteX20" fmla="*/ 666750 w 4300729"/>
                  <a:gd name="connsiteY20" fmla="*/ 2543175 h 4261033"/>
                  <a:gd name="connsiteX21" fmla="*/ 581025 w 4300729"/>
                  <a:gd name="connsiteY21" fmla="*/ 2676525 h 4261033"/>
                  <a:gd name="connsiteX22" fmla="*/ 200025 w 4300729"/>
                  <a:gd name="connsiteY22" fmla="*/ 2457450 h 4261033"/>
                  <a:gd name="connsiteX0" fmla="*/ 0 w 4300729"/>
                  <a:gd name="connsiteY0" fmla="*/ 0 h 4314977"/>
                  <a:gd name="connsiteX1" fmla="*/ 1190625 w 4300729"/>
                  <a:gd name="connsiteY1" fmla="*/ 990600 h 4314977"/>
                  <a:gd name="connsiteX2" fmla="*/ 1095375 w 4300729"/>
                  <a:gd name="connsiteY2" fmla="*/ 1152525 h 4314977"/>
                  <a:gd name="connsiteX3" fmla="*/ 1371600 w 4300729"/>
                  <a:gd name="connsiteY3" fmla="*/ 1390650 h 4314977"/>
                  <a:gd name="connsiteX4" fmla="*/ 1276350 w 4300729"/>
                  <a:gd name="connsiteY4" fmla="*/ 1552575 h 4314977"/>
                  <a:gd name="connsiteX5" fmla="*/ 1590675 w 4300729"/>
                  <a:gd name="connsiteY5" fmla="*/ 1762125 h 4314977"/>
                  <a:gd name="connsiteX6" fmla="*/ 1863090 w 4300729"/>
                  <a:gd name="connsiteY6" fmla="*/ 1735455 h 4314977"/>
                  <a:gd name="connsiteX7" fmla="*/ 1584960 w 4300729"/>
                  <a:gd name="connsiteY7" fmla="*/ 2419350 h 4314977"/>
                  <a:gd name="connsiteX8" fmla="*/ 2493645 w 4300729"/>
                  <a:gd name="connsiteY8" fmla="*/ 2150745 h 4314977"/>
                  <a:gd name="connsiteX9" fmla="*/ 2838450 w 4300729"/>
                  <a:gd name="connsiteY9" fmla="*/ 2228850 h 4314977"/>
                  <a:gd name="connsiteX10" fmla="*/ 4175760 w 4300729"/>
                  <a:gd name="connsiteY10" fmla="*/ 3162300 h 4314977"/>
                  <a:gd name="connsiteX11" fmla="*/ 3867150 w 4300729"/>
                  <a:gd name="connsiteY11" fmla="*/ 3558540 h 4314977"/>
                  <a:gd name="connsiteX12" fmla="*/ 3499485 w 4300729"/>
                  <a:gd name="connsiteY12" fmla="*/ 3825240 h 4314977"/>
                  <a:gd name="connsiteX13" fmla="*/ 3124200 w 4300729"/>
                  <a:gd name="connsiteY13" fmla="*/ 4114800 h 4314977"/>
                  <a:gd name="connsiteX14" fmla="*/ 2514600 w 4300729"/>
                  <a:gd name="connsiteY14" fmla="*/ 4114800 h 4314977"/>
                  <a:gd name="connsiteX15" fmla="*/ 2257425 w 4300729"/>
                  <a:gd name="connsiteY15" fmla="*/ 3695700 h 4314977"/>
                  <a:gd name="connsiteX16" fmla="*/ 1905000 w 4300729"/>
                  <a:gd name="connsiteY16" fmla="*/ 3421380 h 4314977"/>
                  <a:gd name="connsiteX17" fmla="*/ 1491615 w 4300729"/>
                  <a:gd name="connsiteY17" fmla="*/ 3133725 h 4314977"/>
                  <a:gd name="connsiteX18" fmla="*/ 1099185 w 4300729"/>
                  <a:gd name="connsiteY18" fmla="*/ 3011805 h 4314977"/>
                  <a:gd name="connsiteX19" fmla="*/ 933450 w 4300729"/>
                  <a:gd name="connsiteY19" fmla="*/ 2733675 h 4314977"/>
                  <a:gd name="connsiteX20" fmla="*/ 666750 w 4300729"/>
                  <a:gd name="connsiteY20" fmla="*/ 2543175 h 4314977"/>
                  <a:gd name="connsiteX21" fmla="*/ 581025 w 4300729"/>
                  <a:gd name="connsiteY21" fmla="*/ 2676525 h 4314977"/>
                  <a:gd name="connsiteX22" fmla="*/ 200025 w 4300729"/>
                  <a:gd name="connsiteY22" fmla="*/ 2457450 h 4314977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300729" h="4336841">
                    <a:moveTo>
                      <a:pt x="0" y="0"/>
                    </a:moveTo>
                    <a:lnTo>
                      <a:pt x="1190625" y="990600"/>
                    </a:lnTo>
                    <a:lnTo>
                      <a:pt x="1095375" y="1152525"/>
                    </a:lnTo>
                    <a:lnTo>
                      <a:pt x="1371600" y="1390650"/>
                    </a:lnTo>
                    <a:cubicBezTo>
                      <a:pt x="1343660" y="1424940"/>
                      <a:pt x="1330960" y="1468755"/>
                      <a:pt x="1276350" y="1552575"/>
                    </a:cubicBezTo>
                    <a:lnTo>
                      <a:pt x="1590675" y="1762125"/>
                    </a:lnTo>
                    <a:lnTo>
                      <a:pt x="1863090" y="1735455"/>
                    </a:lnTo>
                    <a:cubicBezTo>
                      <a:pt x="1779905" y="1943100"/>
                      <a:pt x="1500505" y="2352675"/>
                      <a:pt x="1584960" y="2419350"/>
                    </a:cubicBezTo>
                    <a:cubicBezTo>
                      <a:pt x="1848485" y="2598420"/>
                      <a:pt x="2131060" y="2545080"/>
                      <a:pt x="2493645" y="2150745"/>
                    </a:cubicBezTo>
                    <a:cubicBezTo>
                      <a:pt x="2632710" y="2167890"/>
                      <a:pt x="2667000" y="2194560"/>
                      <a:pt x="2838450" y="2228850"/>
                    </a:cubicBezTo>
                    <a:cubicBezTo>
                      <a:pt x="3365500" y="2581275"/>
                      <a:pt x="3705860" y="2830830"/>
                      <a:pt x="4175760" y="3162300"/>
                    </a:cubicBezTo>
                    <a:cubicBezTo>
                      <a:pt x="4492625" y="3402965"/>
                      <a:pt x="4138930" y="3763645"/>
                      <a:pt x="3867150" y="3558540"/>
                    </a:cubicBezTo>
                    <a:cubicBezTo>
                      <a:pt x="4075430" y="3846830"/>
                      <a:pt x="3731260" y="4053205"/>
                      <a:pt x="3499485" y="3825240"/>
                    </a:cubicBezTo>
                    <a:cubicBezTo>
                      <a:pt x="3655695" y="4135755"/>
                      <a:pt x="3339465" y="4251960"/>
                      <a:pt x="3124200" y="4114800"/>
                    </a:cubicBezTo>
                    <a:cubicBezTo>
                      <a:pt x="3195320" y="4331970"/>
                      <a:pt x="2860675" y="4480560"/>
                      <a:pt x="2514600" y="4114800"/>
                    </a:cubicBezTo>
                    <a:cubicBezTo>
                      <a:pt x="2600325" y="3889375"/>
                      <a:pt x="2466975" y="3663950"/>
                      <a:pt x="2257425" y="3695700"/>
                    </a:cubicBezTo>
                    <a:cubicBezTo>
                      <a:pt x="2286000" y="3454400"/>
                      <a:pt x="2052637" y="3331845"/>
                      <a:pt x="1905000" y="3421380"/>
                    </a:cubicBezTo>
                    <a:cubicBezTo>
                      <a:pt x="1963925" y="3231958"/>
                      <a:pt x="1637665" y="3032125"/>
                      <a:pt x="1491615" y="3133725"/>
                    </a:cubicBezTo>
                    <a:cubicBezTo>
                      <a:pt x="1548130" y="2995295"/>
                      <a:pt x="1286510" y="2834005"/>
                      <a:pt x="1099185" y="3011805"/>
                    </a:cubicBezTo>
                    <a:lnTo>
                      <a:pt x="933450" y="2733675"/>
                    </a:lnTo>
                    <a:lnTo>
                      <a:pt x="666750" y="2543175"/>
                    </a:lnTo>
                    <a:lnTo>
                      <a:pt x="581025" y="2676525"/>
                    </a:lnTo>
                    <a:lnTo>
                      <a:pt x="200025" y="2457450"/>
                    </a:lnTo>
                  </a:path>
                </a:pathLst>
              </a:custGeom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2" name="Freeform 5">
                <a:extLst>
                  <a:ext uri="{FF2B5EF4-FFF2-40B4-BE49-F238E27FC236}">
                    <a16:creationId xmlns:a16="http://schemas.microsoft.com/office/drawing/2014/main" id="{556F110A-1A9A-224E-803C-2741CBC8C4F8}"/>
                  </a:ext>
                </a:extLst>
              </p:cNvPr>
              <p:cNvSpPr/>
              <p:nvPr/>
            </p:nvSpPr>
            <p:spPr>
              <a:xfrm>
                <a:off x="2979453" y="4301052"/>
                <a:ext cx="1379276" cy="1206796"/>
              </a:xfrm>
              <a:custGeom>
                <a:avLst/>
                <a:gdLst>
                  <a:gd name="connsiteX0" fmla="*/ 0 w 1381125"/>
                  <a:gd name="connsiteY0" fmla="*/ 228600 h 1209675"/>
                  <a:gd name="connsiteX1" fmla="*/ 285750 w 1381125"/>
                  <a:gd name="connsiteY1" fmla="*/ 381000 h 1209675"/>
                  <a:gd name="connsiteX2" fmla="*/ 581025 w 1381125"/>
                  <a:gd name="connsiteY2" fmla="*/ 676275 h 1209675"/>
                  <a:gd name="connsiteX3" fmla="*/ 847725 w 1381125"/>
                  <a:gd name="connsiteY3" fmla="*/ 952500 h 1209675"/>
                  <a:gd name="connsiteX4" fmla="*/ 1257300 w 1381125"/>
                  <a:gd name="connsiteY4" fmla="*/ 1209675 h 1209675"/>
                  <a:gd name="connsiteX5" fmla="*/ 1381125 w 1381125"/>
                  <a:gd name="connsiteY5" fmla="*/ 828675 h 1209675"/>
                  <a:gd name="connsiteX6" fmla="*/ 1123950 w 1381125"/>
                  <a:gd name="connsiteY6" fmla="*/ 676275 h 1209675"/>
                  <a:gd name="connsiteX7" fmla="*/ 838200 w 1381125"/>
                  <a:gd name="connsiteY7" fmla="*/ 400050 h 1209675"/>
                  <a:gd name="connsiteX8" fmla="*/ 447675 w 1381125"/>
                  <a:gd name="connsiteY8" fmla="*/ 219075 h 1209675"/>
                  <a:gd name="connsiteX9" fmla="*/ 114300 w 1381125"/>
                  <a:gd name="connsiteY9" fmla="*/ 0 h 1209675"/>
                  <a:gd name="connsiteX10" fmla="*/ 57150 w 1381125"/>
                  <a:gd name="connsiteY10" fmla="*/ 247650 h 1209675"/>
                  <a:gd name="connsiteX0" fmla="*/ 0 w 1381125"/>
                  <a:gd name="connsiteY0" fmla="*/ 228600 h 1209675"/>
                  <a:gd name="connsiteX1" fmla="*/ 285750 w 1381125"/>
                  <a:gd name="connsiteY1" fmla="*/ 381000 h 1209675"/>
                  <a:gd name="connsiteX2" fmla="*/ 581025 w 1381125"/>
                  <a:gd name="connsiteY2" fmla="*/ 676275 h 1209675"/>
                  <a:gd name="connsiteX3" fmla="*/ 847725 w 1381125"/>
                  <a:gd name="connsiteY3" fmla="*/ 952500 h 1209675"/>
                  <a:gd name="connsiteX4" fmla="*/ 1257300 w 1381125"/>
                  <a:gd name="connsiteY4" fmla="*/ 1209675 h 1209675"/>
                  <a:gd name="connsiteX5" fmla="*/ 1381125 w 1381125"/>
                  <a:gd name="connsiteY5" fmla="*/ 828675 h 1209675"/>
                  <a:gd name="connsiteX6" fmla="*/ 1123950 w 1381125"/>
                  <a:gd name="connsiteY6" fmla="*/ 676275 h 1209675"/>
                  <a:gd name="connsiteX7" fmla="*/ 838200 w 1381125"/>
                  <a:gd name="connsiteY7" fmla="*/ 400050 h 1209675"/>
                  <a:gd name="connsiteX8" fmla="*/ 447675 w 1381125"/>
                  <a:gd name="connsiteY8" fmla="*/ 219075 h 1209675"/>
                  <a:gd name="connsiteX9" fmla="*/ 114300 w 1381125"/>
                  <a:gd name="connsiteY9" fmla="*/ 0 h 1209675"/>
                  <a:gd name="connsiteX10" fmla="*/ 7620 w 1381125"/>
                  <a:gd name="connsiteY10" fmla="*/ 224790 h 1209675"/>
                  <a:gd name="connsiteX0" fmla="*/ 0 w 1381125"/>
                  <a:gd name="connsiteY0" fmla="*/ 228600 h 1209675"/>
                  <a:gd name="connsiteX1" fmla="*/ 285750 w 1381125"/>
                  <a:gd name="connsiteY1" fmla="*/ 381000 h 1209675"/>
                  <a:gd name="connsiteX2" fmla="*/ 581025 w 1381125"/>
                  <a:gd name="connsiteY2" fmla="*/ 676275 h 1209675"/>
                  <a:gd name="connsiteX3" fmla="*/ 847725 w 1381125"/>
                  <a:gd name="connsiteY3" fmla="*/ 952500 h 1209675"/>
                  <a:gd name="connsiteX4" fmla="*/ 1257300 w 1381125"/>
                  <a:gd name="connsiteY4" fmla="*/ 1209675 h 1209675"/>
                  <a:gd name="connsiteX5" fmla="*/ 1381125 w 1381125"/>
                  <a:gd name="connsiteY5" fmla="*/ 828675 h 1209675"/>
                  <a:gd name="connsiteX6" fmla="*/ 1123950 w 1381125"/>
                  <a:gd name="connsiteY6" fmla="*/ 676275 h 1209675"/>
                  <a:gd name="connsiteX7" fmla="*/ 838200 w 1381125"/>
                  <a:gd name="connsiteY7" fmla="*/ 400050 h 1209675"/>
                  <a:gd name="connsiteX8" fmla="*/ 447675 w 1381125"/>
                  <a:gd name="connsiteY8" fmla="*/ 219075 h 1209675"/>
                  <a:gd name="connsiteX9" fmla="*/ 114300 w 1381125"/>
                  <a:gd name="connsiteY9" fmla="*/ 0 h 1209675"/>
                  <a:gd name="connsiteX10" fmla="*/ 7620 w 1381125"/>
                  <a:gd name="connsiteY10" fmla="*/ 194310 h 1209675"/>
                  <a:gd name="connsiteX0" fmla="*/ 3810 w 1384935"/>
                  <a:gd name="connsiteY0" fmla="*/ 228600 h 1209675"/>
                  <a:gd name="connsiteX1" fmla="*/ 289560 w 1384935"/>
                  <a:gd name="connsiteY1" fmla="*/ 381000 h 1209675"/>
                  <a:gd name="connsiteX2" fmla="*/ 584835 w 1384935"/>
                  <a:gd name="connsiteY2" fmla="*/ 676275 h 1209675"/>
                  <a:gd name="connsiteX3" fmla="*/ 851535 w 1384935"/>
                  <a:gd name="connsiteY3" fmla="*/ 952500 h 1209675"/>
                  <a:gd name="connsiteX4" fmla="*/ 1261110 w 1384935"/>
                  <a:gd name="connsiteY4" fmla="*/ 1209675 h 1209675"/>
                  <a:gd name="connsiteX5" fmla="*/ 1384935 w 1384935"/>
                  <a:gd name="connsiteY5" fmla="*/ 828675 h 1209675"/>
                  <a:gd name="connsiteX6" fmla="*/ 1127760 w 1384935"/>
                  <a:gd name="connsiteY6" fmla="*/ 676275 h 1209675"/>
                  <a:gd name="connsiteX7" fmla="*/ 842010 w 1384935"/>
                  <a:gd name="connsiteY7" fmla="*/ 400050 h 1209675"/>
                  <a:gd name="connsiteX8" fmla="*/ 451485 w 1384935"/>
                  <a:gd name="connsiteY8" fmla="*/ 219075 h 1209675"/>
                  <a:gd name="connsiteX9" fmla="*/ 118110 w 1384935"/>
                  <a:gd name="connsiteY9" fmla="*/ 0 h 1209675"/>
                  <a:gd name="connsiteX10" fmla="*/ 0 w 1384935"/>
                  <a:gd name="connsiteY10" fmla="*/ 236220 h 1209675"/>
                  <a:gd name="connsiteX0" fmla="*/ 7620 w 1388745"/>
                  <a:gd name="connsiteY0" fmla="*/ 228600 h 1209675"/>
                  <a:gd name="connsiteX1" fmla="*/ 293370 w 1388745"/>
                  <a:gd name="connsiteY1" fmla="*/ 38100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93370 w 1388745"/>
                  <a:gd name="connsiteY1" fmla="*/ 38100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106805"/>
                  <a:gd name="connsiteX1" fmla="*/ 243840 w 1388745"/>
                  <a:gd name="connsiteY1" fmla="*/ 377190 h 1106805"/>
                  <a:gd name="connsiteX2" fmla="*/ 588645 w 1388745"/>
                  <a:gd name="connsiteY2" fmla="*/ 676275 h 1106805"/>
                  <a:gd name="connsiteX3" fmla="*/ 855345 w 1388745"/>
                  <a:gd name="connsiteY3" fmla="*/ 952500 h 1106805"/>
                  <a:gd name="connsiteX4" fmla="*/ 1268730 w 1388745"/>
                  <a:gd name="connsiteY4" fmla="*/ 1106805 h 1106805"/>
                  <a:gd name="connsiteX5" fmla="*/ 1388745 w 1388745"/>
                  <a:gd name="connsiteY5" fmla="*/ 828675 h 1106805"/>
                  <a:gd name="connsiteX6" fmla="*/ 1131570 w 1388745"/>
                  <a:gd name="connsiteY6" fmla="*/ 676275 h 1106805"/>
                  <a:gd name="connsiteX7" fmla="*/ 845820 w 1388745"/>
                  <a:gd name="connsiteY7" fmla="*/ 400050 h 1106805"/>
                  <a:gd name="connsiteX8" fmla="*/ 455295 w 1388745"/>
                  <a:gd name="connsiteY8" fmla="*/ 219075 h 1106805"/>
                  <a:gd name="connsiteX9" fmla="*/ 121920 w 1388745"/>
                  <a:gd name="connsiteY9" fmla="*/ 0 h 1106805"/>
                  <a:gd name="connsiteX10" fmla="*/ 0 w 1388745"/>
                  <a:gd name="connsiteY10" fmla="*/ 201930 h 1106805"/>
                  <a:gd name="connsiteX0" fmla="*/ 7620 w 1388745"/>
                  <a:gd name="connsiteY0" fmla="*/ 228600 h 1161688"/>
                  <a:gd name="connsiteX1" fmla="*/ 243840 w 1388745"/>
                  <a:gd name="connsiteY1" fmla="*/ 377190 h 1161688"/>
                  <a:gd name="connsiteX2" fmla="*/ 588645 w 1388745"/>
                  <a:gd name="connsiteY2" fmla="*/ 676275 h 1161688"/>
                  <a:gd name="connsiteX3" fmla="*/ 855345 w 1388745"/>
                  <a:gd name="connsiteY3" fmla="*/ 952500 h 1161688"/>
                  <a:gd name="connsiteX4" fmla="*/ 1268730 w 1388745"/>
                  <a:gd name="connsiteY4" fmla="*/ 1106805 h 1161688"/>
                  <a:gd name="connsiteX5" fmla="*/ 1388745 w 1388745"/>
                  <a:gd name="connsiteY5" fmla="*/ 828675 h 1161688"/>
                  <a:gd name="connsiteX6" fmla="*/ 1131570 w 1388745"/>
                  <a:gd name="connsiteY6" fmla="*/ 676275 h 1161688"/>
                  <a:gd name="connsiteX7" fmla="*/ 845820 w 1388745"/>
                  <a:gd name="connsiteY7" fmla="*/ 400050 h 1161688"/>
                  <a:gd name="connsiteX8" fmla="*/ 455295 w 1388745"/>
                  <a:gd name="connsiteY8" fmla="*/ 219075 h 1161688"/>
                  <a:gd name="connsiteX9" fmla="*/ 121920 w 1388745"/>
                  <a:gd name="connsiteY9" fmla="*/ 0 h 1161688"/>
                  <a:gd name="connsiteX10" fmla="*/ 0 w 1388745"/>
                  <a:gd name="connsiteY10" fmla="*/ 201930 h 1161688"/>
                  <a:gd name="connsiteX0" fmla="*/ 7620 w 1388745"/>
                  <a:gd name="connsiteY0" fmla="*/ 228600 h 1161688"/>
                  <a:gd name="connsiteX1" fmla="*/ 243840 w 1388745"/>
                  <a:gd name="connsiteY1" fmla="*/ 377190 h 1161688"/>
                  <a:gd name="connsiteX2" fmla="*/ 588645 w 1388745"/>
                  <a:gd name="connsiteY2" fmla="*/ 676275 h 1161688"/>
                  <a:gd name="connsiteX3" fmla="*/ 855345 w 1388745"/>
                  <a:gd name="connsiteY3" fmla="*/ 952500 h 1161688"/>
                  <a:gd name="connsiteX4" fmla="*/ 1268730 w 1388745"/>
                  <a:gd name="connsiteY4" fmla="*/ 1106805 h 1161688"/>
                  <a:gd name="connsiteX5" fmla="*/ 1388745 w 1388745"/>
                  <a:gd name="connsiteY5" fmla="*/ 828675 h 1161688"/>
                  <a:gd name="connsiteX6" fmla="*/ 1131570 w 1388745"/>
                  <a:gd name="connsiteY6" fmla="*/ 676275 h 1161688"/>
                  <a:gd name="connsiteX7" fmla="*/ 845820 w 1388745"/>
                  <a:gd name="connsiteY7" fmla="*/ 400050 h 1161688"/>
                  <a:gd name="connsiteX8" fmla="*/ 455295 w 1388745"/>
                  <a:gd name="connsiteY8" fmla="*/ 219075 h 1161688"/>
                  <a:gd name="connsiteX9" fmla="*/ 121920 w 1388745"/>
                  <a:gd name="connsiteY9" fmla="*/ 0 h 1161688"/>
                  <a:gd name="connsiteX10" fmla="*/ 0 w 1388745"/>
                  <a:gd name="connsiteY10" fmla="*/ 201930 h 1161688"/>
                  <a:gd name="connsiteX0" fmla="*/ 7620 w 1397320"/>
                  <a:gd name="connsiteY0" fmla="*/ 228600 h 1161688"/>
                  <a:gd name="connsiteX1" fmla="*/ 243840 w 1397320"/>
                  <a:gd name="connsiteY1" fmla="*/ 377190 h 1161688"/>
                  <a:gd name="connsiteX2" fmla="*/ 588645 w 1397320"/>
                  <a:gd name="connsiteY2" fmla="*/ 676275 h 1161688"/>
                  <a:gd name="connsiteX3" fmla="*/ 855345 w 1397320"/>
                  <a:gd name="connsiteY3" fmla="*/ 952500 h 1161688"/>
                  <a:gd name="connsiteX4" fmla="*/ 1268730 w 1397320"/>
                  <a:gd name="connsiteY4" fmla="*/ 1106805 h 1161688"/>
                  <a:gd name="connsiteX5" fmla="*/ 1388745 w 1397320"/>
                  <a:gd name="connsiteY5" fmla="*/ 828675 h 1161688"/>
                  <a:gd name="connsiteX6" fmla="*/ 1131570 w 1397320"/>
                  <a:gd name="connsiteY6" fmla="*/ 676275 h 1161688"/>
                  <a:gd name="connsiteX7" fmla="*/ 845820 w 1397320"/>
                  <a:gd name="connsiteY7" fmla="*/ 400050 h 1161688"/>
                  <a:gd name="connsiteX8" fmla="*/ 455295 w 1397320"/>
                  <a:gd name="connsiteY8" fmla="*/ 219075 h 1161688"/>
                  <a:gd name="connsiteX9" fmla="*/ 121920 w 1397320"/>
                  <a:gd name="connsiteY9" fmla="*/ 0 h 1161688"/>
                  <a:gd name="connsiteX10" fmla="*/ 0 w 1397320"/>
                  <a:gd name="connsiteY10" fmla="*/ 201930 h 1161688"/>
                  <a:gd name="connsiteX0" fmla="*/ 7620 w 1397320"/>
                  <a:gd name="connsiteY0" fmla="*/ 228600 h 1161688"/>
                  <a:gd name="connsiteX1" fmla="*/ 243840 w 1397320"/>
                  <a:gd name="connsiteY1" fmla="*/ 377190 h 1161688"/>
                  <a:gd name="connsiteX2" fmla="*/ 588645 w 1397320"/>
                  <a:gd name="connsiteY2" fmla="*/ 676275 h 1161688"/>
                  <a:gd name="connsiteX3" fmla="*/ 855345 w 1397320"/>
                  <a:gd name="connsiteY3" fmla="*/ 952500 h 1161688"/>
                  <a:gd name="connsiteX4" fmla="*/ 1268730 w 1397320"/>
                  <a:gd name="connsiteY4" fmla="*/ 1106805 h 1161688"/>
                  <a:gd name="connsiteX5" fmla="*/ 1388745 w 1397320"/>
                  <a:gd name="connsiteY5" fmla="*/ 828675 h 1161688"/>
                  <a:gd name="connsiteX6" fmla="*/ 1131570 w 1397320"/>
                  <a:gd name="connsiteY6" fmla="*/ 676275 h 1161688"/>
                  <a:gd name="connsiteX7" fmla="*/ 845820 w 1397320"/>
                  <a:gd name="connsiteY7" fmla="*/ 400050 h 1161688"/>
                  <a:gd name="connsiteX8" fmla="*/ 455295 w 1397320"/>
                  <a:gd name="connsiteY8" fmla="*/ 219075 h 1161688"/>
                  <a:gd name="connsiteX9" fmla="*/ 121920 w 1397320"/>
                  <a:gd name="connsiteY9" fmla="*/ 0 h 1161688"/>
                  <a:gd name="connsiteX10" fmla="*/ 0 w 1397320"/>
                  <a:gd name="connsiteY10" fmla="*/ 201930 h 1161688"/>
                  <a:gd name="connsiteX0" fmla="*/ 7620 w 1397320"/>
                  <a:gd name="connsiteY0" fmla="*/ 228600 h 1161688"/>
                  <a:gd name="connsiteX1" fmla="*/ 243840 w 1397320"/>
                  <a:gd name="connsiteY1" fmla="*/ 377190 h 1161688"/>
                  <a:gd name="connsiteX2" fmla="*/ 588645 w 1397320"/>
                  <a:gd name="connsiteY2" fmla="*/ 676275 h 1161688"/>
                  <a:gd name="connsiteX3" fmla="*/ 855345 w 1397320"/>
                  <a:gd name="connsiteY3" fmla="*/ 952500 h 1161688"/>
                  <a:gd name="connsiteX4" fmla="*/ 1268730 w 1397320"/>
                  <a:gd name="connsiteY4" fmla="*/ 1106805 h 1161688"/>
                  <a:gd name="connsiteX5" fmla="*/ 1388745 w 1397320"/>
                  <a:gd name="connsiteY5" fmla="*/ 828675 h 1161688"/>
                  <a:gd name="connsiteX6" fmla="*/ 1131570 w 1397320"/>
                  <a:gd name="connsiteY6" fmla="*/ 676275 h 1161688"/>
                  <a:gd name="connsiteX7" fmla="*/ 845820 w 1397320"/>
                  <a:gd name="connsiteY7" fmla="*/ 400050 h 1161688"/>
                  <a:gd name="connsiteX8" fmla="*/ 455295 w 1397320"/>
                  <a:gd name="connsiteY8" fmla="*/ 219075 h 1161688"/>
                  <a:gd name="connsiteX9" fmla="*/ 121920 w 1397320"/>
                  <a:gd name="connsiteY9" fmla="*/ 0 h 1161688"/>
                  <a:gd name="connsiteX10" fmla="*/ 0 w 1397320"/>
                  <a:gd name="connsiteY10" fmla="*/ 201930 h 1161688"/>
                  <a:gd name="connsiteX0" fmla="*/ 7620 w 1376446"/>
                  <a:gd name="connsiteY0" fmla="*/ 228600 h 1161688"/>
                  <a:gd name="connsiteX1" fmla="*/ 243840 w 1376446"/>
                  <a:gd name="connsiteY1" fmla="*/ 377190 h 1161688"/>
                  <a:gd name="connsiteX2" fmla="*/ 588645 w 1376446"/>
                  <a:gd name="connsiteY2" fmla="*/ 676275 h 1161688"/>
                  <a:gd name="connsiteX3" fmla="*/ 855345 w 1376446"/>
                  <a:gd name="connsiteY3" fmla="*/ 952500 h 1161688"/>
                  <a:gd name="connsiteX4" fmla="*/ 1268730 w 1376446"/>
                  <a:gd name="connsiteY4" fmla="*/ 1106805 h 1161688"/>
                  <a:gd name="connsiteX5" fmla="*/ 1365885 w 1376446"/>
                  <a:gd name="connsiteY5" fmla="*/ 859155 h 1161688"/>
                  <a:gd name="connsiteX6" fmla="*/ 1131570 w 1376446"/>
                  <a:gd name="connsiteY6" fmla="*/ 676275 h 1161688"/>
                  <a:gd name="connsiteX7" fmla="*/ 845820 w 1376446"/>
                  <a:gd name="connsiteY7" fmla="*/ 400050 h 1161688"/>
                  <a:gd name="connsiteX8" fmla="*/ 455295 w 1376446"/>
                  <a:gd name="connsiteY8" fmla="*/ 219075 h 1161688"/>
                  <a:gd name="connsiteX9" fmla="*/ 121920 w 1376446"/>
                  <a:gd name="connsiteY9" fmla="*/ 0 h 1161688"/>
                  <a:gd name="connsiteX10" fmla="*/ 0 w 1376446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67627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67627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67627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71818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71818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71818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15340 w 1365973"/>
                  <a:gd name="connsiteY7" fmla="*/ 40767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15340 w 1365973"/>
                  <a:gd name="connsiteY7" fmla="*/ 40767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40055 w 1365973"/>
                  <a:gd name="connsiteY8" fmla="*/ 20383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40055 w 1365973"/>
                  <a:gd name="connsiteY8" fmla="*/ 20383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40055 w 1365973"/>
                  <a:gd name="connsiteY8" fmla="*/ 20383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21005 w 1365973"/>
                  <a:gd name="connsiteY8" fmla="*/ 19621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21005 w 1365973"/>
                  <a:gd name="connsiteY8" fmla="*/ 19621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21005 w 1365973"/>
                  <a:gd name="connsiteY8" fmla="*/ 19621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371475 w 1365973"/>
                  <a:gd name="connsiteY8" fmla="*/ 17716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371475 w 1365973"/>
                  <a:gd name="connsiteY8" fmla="*/ 17716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51322 h 1184410"/>
                  <a:gd name="connsiteX1" fmla="*/ 243840 w 1365973"/>
                  <a:gd name="connsiteY1" fmla="*/ 399912 h 1184410"/>
                  <a:gd name="connsiteX2" fmla="*/ 588645 w 1365973"/>
                  <a:gd name="connsiteY2" fmla="*/ 698997 h 1184410"/>
                  <a:gd name="connsiteX3" fmla="*/ 855345 w 1365973"/>
                  <a:gd name="connsiteY3" fmla="*/ 975222 h 1184410"/>
                  <a:gd name="connsiteX4" fmla="*/ 1268730 w 1365973"/>
                  <a:gd name="connsiteY4" fmla="*/ 1129527 h 1184410"/>
                  <a:gd name="connsiteX5" fmla="*/ 1365885 w 1365973"/>
                  <a:gd name="connsiteY5" fmla="*/ 881877 h 1184410"/>
                  <a:gd name="connsiteX6" fmla="*/ 1112520 w 1365973"/>
                  <a:gd name="connsiteY6" fmla="*/ 725667 h 1184410"/>
                  <a:gd name="connsiteX7" fmla="*/ 704850 w 1365973"/>
                  <a:gd name="connsiteY7" fmla="*/ 441822 h 1184410"/>
                  <a:gd name="connsiteX8" fmla="*/ 371475 w 1365973"/>
                  <a:gd name="connsiteY8" fmla="*/ 199887 h 1184410"/>
                  <a:gd name="connsiteX9" fmla="*/ 121920 w 1365973"/>
                  <a:gd name="connsiteY9" fmla="*/ 22722 h 1184410"/>
                  <a:gd name="connsiteX10" fmla="*/ 0 w 1365973"/>
                  <a:gd name="connsiteY10" fmla="*/ 224652 h 1184410"/>
                  <a:gd name="connsiteX0" fmla="*/ 7620 w 1365973"/>
                  <a:gd name="connsiteY0" fmla="*/ 263643 h 1196731"/>
                  <a:gd name="connsiteX1" fmla="*/ 243840 w 1365973"/>
                  <a:gd name="connsiteY1" fmla="*/ 412233 h 1196731"/>
                  <a:gd name="connsiteX2" fmla="*/ 588645 w 1365973"/>
                  <a:gd name="connsiteY2" fmla="*/ 711318 h 1196731"/>
                  <a:gd name="connsiteX3" fmla="*/ 855345 w 1365973"/>
                  <a:gd name="connsiteY3" fmla="*/ 987543 h 1196731"/>
                  <a:gd name="connsiteX4" fmla="*/ 1268730 w 1365973"/>
                  <a:gd name="connsiteY4" fmla="*/ 1141848 h 1196731"/>
                  <a:gd name="connsiteX5" fmla="*/ 1365885 w 1365973"/>
                  <a:gd name="connsiteY5" fmla="*/ 894198 h 1196731"/>
                  <a:gd name="connsiteX6" fmla="*/ 1112520 w 1365973"/>
                  <a:gd name="connsiteY6" fmla="*/ 737988 h 1196731"/>
                  <a:gd name="connsiteX7" fmla="*/ 704850 w 1365973"/>
                  <a:gd name="connsiteY7" fmla="*/ 454143 h 1196731"/>
                  <a:gd name="connsiteX8" fmla="*/ 371475 w 1365973"/>
                  <a:gd name="connsiteY8" fmla="*/ 212208 h 1196731"/>
                  <a:gd name="connsiteX9" fmla="*/ 121920 w 1365973"/>
                  <a:gd name="connsiteY9" fmla="*/ 35043 h 1196731"/>
                  <a:gd name="connsiteX10" fmla="*/ 0 w 1365973"/>
                  <a:gd name="connsiteY10" fmla="*/ 236973 h 1196731"/>
                  <a:gd name="connsiteX0" fmla="*/ 7620 w 1365973"/>
                  <a:gd name="connsiteY0" fmla="*/ 263643 h 1196731"/>
                  <a:gd name="connsiteX1" fmla="*/ 243840 w 1365973"/>
                  <a:gd name="connsiteY1" fmla="*/ 412233 h 1196731"/>
                  <a:gd name="connsiteX2" fmla="*/ 588645 w 1365973"/>
                  <a:gd name="connsiteY2" fmla="*/ 711318 h 1196731"/>
                  <a:gd name="connsiteX3" fmla="*/ 855345 w 1365973"/>
                  <a:gd name="connsiteY3" fmla="*/ 987543 h 1196731"/>
                  <a:gd name="connsiteX4" fmla="*/ 1268730 w 1365973"/>
                  <a:gd name="connsiteY4" fmla="*/ 1141848 h 1196731"/>
                  <a:gd name="connsiteX5" fmla="*/ 1365885 w 1365973"/>
                  <a:gd name="connsiteY5" fmla="*/ 894198 h 1196731"/>
                  <a:gd name="connsiteX6" fmla="*/ 1112520 w 1365973"/>
                  <a:gd name="connsiteY6" fmla="*/ 737988 h 1196731"/>
                  <a:gd name="connsiteX7" fmla="*/ 704850 w 1365973"/>
                  <a:gd name="connsiteY7" fmla="*/ 454143 h 1196731"/>
                  <a:gd name="connsiteX8" fmla="*/ 352425 w 1365973"/>
                  <a:gd name="connsiteY8" fmla="*/ 212208 h 1196731"/>
                  <a:gd name="connsiteX9" fmla="*/ 121920 w 1365973"/>
                  <a:gd name="connsiteY9" fmla="*/ 35043 h 1196731"/>
                  <a:gd name="connsiteX10" fmla="*/ 0 w 1365973"/>
                  <a:gd name="connsiteY10" fmla="*/ 23697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3069 w 1379042"/>
                  <a:gd name="connsiteY10" fmla="*/ 23697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639 w 1379042"/>
                  <a:gd name="connsiteY10" fmla="*/ 22935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639 w 1379042"/>
                  <a:gd name="connsiteY10" fmla="*/ 22935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639 w 1379042"/>
                  <a:gd name="connsiteY10" fmla="*/ 229353 h 1196731"/>
                  <a:gd name="connsiteX11" fmla="*/ 1639 w 1379042"/>
                  <a:gd name="connsiteY11" fmla="*/ 236973 h 1196731"/>
                  <a:gd name="connsiteX0" fmla="*/ 2847 w 1380250"/>
                  <a:gd name="connsiteY0" fmla="*/ 236973 h 1196731"/>
                  <a:gd name="connsiteX1" fmla="*/ 258117 w 1380250"/>
                  <a:gd name="connsiteY1" fmla="*/ 412233 h 1196731"/>
                  <a:gd name="connsiteX2" fmla="*/ 602922 w 1380250"/>
                  <a:gd name="connsiteY2" fmla="*/ 711318 h 1196731"/>
                  <a:gd name="connsiteX3" fmla="*/ 869622 w 1380250"/>
                  <a:gd name="connsiteY3" fmla="*/ 987543 h 1196731"/>
                  <a:gd name="connsiteX4" fmla="*/ 1283007 w 1380250"/>
                  <a:gd name="connsiteY4" fmla="*/ 1141848 h 1196731"/>
                  <a:gd name="connsiteX5" fmla="*/ 1380162 w 1380250"/>
                  <a:gd name="connsiteY5" fmla="*/ 894198 h 1196731"/>
                  <a:gd name="connsiteX6" fmla="*/ 1126797 w 1380250"/>
                  <a:gd name="connsiteY6" fmla="*/ 737988 h 1196731"/>
                  <a:gd name="connsiteX7" fmla="*/ 719127 w 1380250"/>
                  <a:gd name="connsiteY7" fmla="*/ 454143 h 1196731"/>
                  <a:gd name="connsiteX8" fmla="*/ 366702 w 1380250"/>
                  <a:gd name="connsiteY8" fmla="*/ 212208 h 1196731"/>
                  <a:gd name="connsiteX9" fmla="*/ 136197 w 1380250"/>
                  <a:gd name="connsiteY9" fmla="*/ 35043 h 1196731"/>
                  <a:gd name="connsiteX10" fmla="*/ 2847 w 1380250"/>
                  <a:gd name="connsiteY10" fmla="*/ 236973 h 1196731"/>
                  <a:gd name="connsiteX0" fmla="*/ 1640 w 1379043"/>
                  <a:gd name="connsiteY0" fmla="*/ 236973 h 1196731"/>
                  <a:gd name="connsiteX1" fmla="*/ 256910 w 1379043"/>
                  <a:gd name="connsiteY1" fmla="*/ 412233 h 1196731"/>
                  <a:gd name="connsiteX2" fmla="*/ 601715 w 1379043"/>
                  <a:gd name="connsiteY2" fmla="*/ 711318 h 1196731"/>
                  <a:gd name="connsiteX3" fmla="*/ 868415 w 1379043"/>
                  <a:gd name="connsiteY3" fmla="*/ 987543 h 1196731"/>
                  <a:gd name="connsiteX4" fmla="*/ 1281800 w 1379043"/>
                  <a:gd name="connsiteY4" fmla="*/ 1141848 h 1196731"/>
                  <a:gd name="connsiteX5" fmla="*/ 1378955 w 1379043"/>
                  <a:gd name="connsiteY5" fmla="*/ 894198 h 1196731"/>
                  <a:gd name="connsiteX6" fmla="*/ 1125590 w 1379043"/>
                  <a:gd name="connsiteY6" fmla="*/ 737988 h 1196731"/>
                  <a:gd name="connsiteX7" fmla="*/ 717920 w 1379043"/>
                  <a:gd name="connsiteY7" fmla="*/ 454143 h 1196731"/>
                  <a:gd name="connsiteX8" fmla="*/ 365495 w 1379043"/>
                  <a:gd name="connsiteY8" fmla="*/ 212208 h 1196731"/>
                  <a:gd name="connsiteX9" fmla="*/ 134990 w 1379043"/>
                  <a:gd name="connsiteY9" fmla="*/ 35043 h 1196731"/>
                  <a:gd name="connsiteX10" fmla="*/ 1640 w 1379043"/>
                  <a:gd name="connsiteY10" fmla="*/ 236973 h 1196731"/>
                  <a:gd name="connsiteX0" fmla="*/ 17 w 1377420"/>
                  <a:gd name="connsiteY0" fmla="*/ 236973 h 1196731"/>
                  <a:gd name="connsiteX1" fmla="*/ 255287 w 1377420"/>
                  <a:gd name="connsiteY1" fmla="*/ 412233 h 1196731"/>
                  <a:gd name="connsiteX2" fmla="*/ 600092 w 1377420"/>
                  <a:gd name="connsiteY2" fmla="*/ 711318 h 1196731"/>
                  <a:gd name="connsiteX3" fmla="*/ 866792 w 1377420"/>
                  <a:gd name="connsiteY3" fmla="*/ 987543 h 1196731"/>
                  <a:gd name="connsiteX4" fmla="*/ 1280177 w 1377420"/>
                  <a:gd name="connsiteY4" fmla="*/ 1141848 h 1196731"/>
                  <a:gd name="connsiteX5" fmla="*/ 1377332 w 1377420"/>
                  <a:gd name="connsiteY5" fmla="*/ 894198 h 1196731"/>
                  <a:gd name="connsiteX6" fmla="*/ 1123967 w 1377420"/>
                  <a:gd name="connsiteY6" fmla="*/ 737988 h 1196731"/>
                  <a:gd name="connsiteX7" fmla="*/ 716297 w 1377420"/>
                  <a:gd name="connsiteY7" fmla="*/ 454143 h 1196731"/>
                  <a:gd name="connsiteX8" fmla="*/ 363872 w 1377420"/>
                  <a:gd name="connsiteY8" fmla="*/ 212208 h 1196731"/>
                  <a:gd name="connsiteX9" fmla="*/ 133367 w 1377420"/>
                  <a:gd name="connsiteY9" fmla="*/ 35043 h 1196731"/>
                  <a:gd name="connsiteX10" fmla="*/ 17 w 1377420"/>
                  <a:gd name="connsiteY10" fmla="*/ 236973 h 1196731"/>
                  <a:gd name="connsiteX0" fmla="*/ 3783 w 1381186"/>
                  <a:gd name="connsiteY0" fmla="*/ 236973 h 1196731"/>
                  <a:gd name="connsiteX1" fmla="*/ 259053 w 1381186"/>
                  <a:gd name="connsiteY1" fmla="*/ 412233 h 1196731"/>
                  <a:gd name="connsiteX2" fmla="*/ 603858 w 1381186"/>
                  <a:gd name="connsiteY2" fmla="*/ 711318 h 1196731"/>
                  <a:gd name="connsiteX3" fmla="*/ 870558 w 1381186"/>
                  <a:gd name="connsiteY3" fmla="*/ 987543 h 1196731"/>
                  <a:gd name="connsiteX4" fmla="*/ 1283943 w 1381186"/>
                  <a:gd name="connsiteY4" fmla="*/ 1141848 h 1196731"/>
                  <a:gd name="connsiteX5" fmla="*/ 1381098 w 1381186"/>
                  <a:gd name="connsiteY5" fmla="*/ 894198 h 1196731"/>
                  <a:gd name="connsiteX6" fmla="*/ 1127733 w 1381186"/>
                  <a:gd name="connsiteY6" fmla="*/ 737988 h 1196731"/>
                  <a:gd name="connsiteX7" fmla="*/ 720063 w 1381186"/>
                  <a:gd name="connsiteY7" fmla="*/ 454143 h 1196731"/>
                  <a:gd name="connsiteX8" fmla="*/ 367638 w 1381186"/>
                  <a:gd name="connsiteY8" fmla="*/ 212208 h 1196731"/>
                  <a:gd name="connsiteX9" fmla="*/ 137133 w 1381186"/>
                  <a:gd name="connsiteY9" fmla="*/ 35043 h 1196731"/>
                  <a:gd name="connsiteX10" fmla="*/ 3783 w 1381186"/>
                  <a:gd name="connsiteY10" fmla="*/ 236973 h 1196731"/>
                  <a:gd name="connsiteX0" fmla="*/ 4467 w 1381870"/>
                  <a:gd name="connsiteY0" fmla="*/ 236973 h 1196731"/>
                  <a:gd name="connsiteX1" fmla="*/ 259737 w 1381870"/>
                  <a:gd name="connsiteY1" fmla="*/ 412233 h 1196731"/>
                  <a:gd name="connsiteX2" fmla="*/ 604542 w 1381870"/>
                  <a:gd name="connsiteY2" fmla="*/ 711318 h 1196731"/>
                  <a:gd name="connsiteX3" fmla="*/ 871242 w 1381870"/>
                  <a:gd name="connsiteY3" fmla="*/ 987543 h 1196731"/>
                  <a:gd name="connsiteX4" fmla="*/ 1284627 w 1381870"/>
                  <a:gd name="connsiteY4" fmla="*/ 1141848 h 1196731"/>
                  <a:gd name="connsiteX5" fmla="*/ 1381782 w 1381870"/>
                  <a:gd name="connsiteY5" fmla="*/ 894198 h 1196731"/>
                  <a:gd name="connsiteX6" fmla="*/ 1128417 w 1381870"/>
                  <a:gd name="connsiteY6" fmla="*/ 737988 h 1196731"/>
                  <a:gd name="connsiteX7" fmla="*/ 720747 w 1381870"/>
                  <a:gd name="connsiteY7" fmla="*/ 454143 h 1196731"/>
                  <a:gd name="connsiteX8" fmla="*/ 368322 w 1381870"/>
                  <a:gd name="connsiteY8" fmla="*/ 212208 h 1196731"/>
                  <a:gd name="connsiteX9" fmla="*/ 137817 w 1381870"/>
                  <a:gd name="connsiteY9" fmla="*/ 35043 h 1196731"/>
                  <a:gd name="connsiteX10" fmla="*/ 4467 w 1381870"/>
                  <a:gd name="connsiteY10" fmla="*/ 236973 h 1196731"/>
                  <a:gd name="connsiteX0" fmla="*/ 4467 w 1381870"/>
                  <a:gd name="connsiteY0" fmla="*/ 217026 h 1176784"/>
                  <a:gd name="connsiteX1" fmla="*/ 259737 w 1381870"/>
                  <a:gd name="connsiteY1" fmla="*/ 392286 h 1176784"/>
                  <a:gd name="connsiteX2" fmla="*/ 604542 w 1381870"/>
                  <a:gd name="connsiteY2" fmla="*/ 691371 h 1176784"/>
                  <a:gd name="connsiteX3" fmla="*/ 871242 w 1381870"/>
                  <a:gd name="connsiteY3" fmla="*/ 967596 h 1176784"/>
                  <a:gd name="connsiteX4" fmla="*/ 1284627 w 1381870"/>
                  <a:gd name="connsiteY4" fmla="*/ 1121901 h 1176784"/>
                  <a:gd name="connsiteX5" fmla="*/ 1381782 w 1381870"/>
                  <a:gd name="connsiteY5" fmla="*/ 874251 h 1176784"/>
                  <a:gd name="connsiteX6" fmla="*/ 1128417 w 1381870"/>
                  <a:gd name="connsiteY6" fmla="*/ 718041 h 1176784"/>
                  <a:gd name="connsiteX7" fmla="*/ 720747 w 1381870"/>
                  <a:gd name="connsiteY7" fmla="*/ 434196 h 1176784"/>
                  <a:gd name="connsiteX8" fmla="*/ 368322 w 1381870"/>
                  <a:gd name="connsiteY8" fmla="*/ 192261 h 1176784"/>
                  <a:gd name="connsiteX9" fmla="*/ 137817 w 1381870"/>
                  <a:gd name="connsiteY9" fmla="*/ 15096 h 1176784"/>
                  <a:gd name="connsiteX10" fmla="*/ 4467 w 1381870"/>
                  <a:gd name="connsiteY10" fmla="*/ 217026 h 1176784"/>
                  <a:gd name="connsiteX0" fmla="*/ 4825 w 1382228"/>
                  <a:gd name="connsiteY0" fmla="*/ 236461 h 1196219"/>
                  <a:gd name="connsiteX1" fmla="*/ 260095 w 1382228"/>
                  <a:gd name="connsiteY1" fmla="*/ 411721 h 1196219"/>
                  <a:gd name="connsiteX2" fmla="*/ 604900 w 1382228"/>
                  <a:gd name="connsiteY2" fmla="*/ 710806 h 1196219"/>
                  <a:gd name="connsiteX3" fmla="*/ 871600 w 1382228"/>
                  <a:gd name="connsiteY3" fmla="*/ 987031 h 1196219"/>
                  <a:gd name="connsiteX4" fmla="*/ 1284985 w 1382228"/>
                  <a:gd name="connsiteY4" fmla="*/ 1141336 h 1196219"/>
                  <a:gd name="connsiteX5" fmla="*/ 1382140 w 1382228"/>
                  <a:gd name="connsiteY5" fmla="*/ 893686 h 1196219"/>
                  <a:gd name="connsiteX6" fmla="*/ 1128775 w 1382228"/>
                  <a:gd name="connsiteY6" fmla="*/ 737476 h 1196219"/>
                  <a:gd name="connsiteX7" fmla="*/ 721105 w 1382228"/>
                  <a:gd name="connsiteY7" fmla="*/ 453631 h 1196219"/>
                  <a:gd name="connsiteX8" fmla="*/ 368680 w 1382228"/>
                  <a:gd name="connsiteY8" fmla="*/ 211696 h 1196219"/>
                  <a:gd name="connsiteX9" fmla="*/ 130555 w 1382228"/>
                  <a:gd name="connsiteY9" fmla="*/ 11671 h 1196219"/>
                  <a:gd name="connsiteX10" fmla="*/ 4825 w 1382228"/>
                  <a:gd name="connsiteY10" fmla="*/ 236461 h 1196219"/>
                  <a:gd name="connsiteX0" fmla="*/ 5218 w 1382621"/>
                  <a:gd name="connsiteY0" fmla="*/ 236461 h 1196219"/>
                  <a:gd name="connsiteX1" fmla="*/ 260488 w 1382621"/>
                  <a:gd name="connsiteY1" fmla="*/ 411721 h 1196219"/>
                  <a:gd name="connsiteX2" fmla="*/ 605293 w 1382621"/>
                  <a:gd name="connsiteY2" fmla="*/ 710806 h 1196219"/>
                  <a:gd name="connsiteX3" fmla="*/ 871993 w 1382621"/>
                  <a:gd name="connsiteY3" fmla="*/ 987031 h 1196219"/>
                  <a:gd name="connsiteX4" fmla="*/ 1285378 w 1382621"/>
                  <a:gd name="connsiteY4" fmla="*/ 1141336 h 1196219"/>
                  <a:gd name="connsiteX5" fmla="*/ 1382533 w 1382621"/>
                  <a:gd name="connsiteY5" fmla="*/ 893686 h 1196219"/>
                  <a:gd name="connsiteX6" fmla="*/ 1129168 w 1382621"/>
                  <a:gd name="connsiteY6" fmla="*/ 737476 h 1196219"/>
                  <a:gd name="connsiteX7" fmla="*/ 721498 w 1382621"/>
                  <a:gd name="connsiteY7" fmla="*/ 453631 h 1196219"/>
                  <a:gd name="connsiteX8" fmla="*/ 369073 w 1382621"/>
                  <a:gd name="connsiteY8" fmla="*/ 211696 h 1196219"/>
                  <a:gd name="connsiteX9" fmla="*/ 130948 w 1382621"/>
                  <a:gd name="connsiteY9" fmla="*/ 11671 h 1196219"/>
                  <a:gd name="connsiteX10" fmla="*/ 5218 w 1382621"/>
                  <a:gd name="connsiteY10" fmla="*/ 236461 h 1196219"/>
                  <a:gd name="connsiteX0" fmla="*/ 5218 w 1382621"/>
                  <a:gd name="connsiteY0" fmla="*/ 244278 h 1204036"/>
                  <a:gd name="connsiteX1" fmla="*/ 260488 w 1382621"/>
                  <a:gd name="connsiteY1" fmla="*/ 419538 h 1204036"/>
                  <a:gd name="connsiteX2" fmla="*/ 605293 w 1382621"/>
                  <a:gd name="connsiteY2" fmla="*/ 718623 h 1204036"/>
                  <a:gd name="connsiteX3" fmla="*/ 871993 w 1382621"/>
                  <a:gd name="connsiteY3" fmla="*/ 994848 h 1204036"/>
                  <a:gd name="connsiteX4" fmla="*/ 1285378 w 1382621"/>
                  <a:gd name="connsiteY4" fmla="*/ 1149153 h 1204036"/>
                  <a:gd name="connsiteX5" fmla="*/ 1382533 w 1382621"/>
                  <a:gd name="connsiteY5" fmla="*/ 901503 h 1204036"/>
                  <a:gd name="connsiteX6" fmla="*/ 1129168 w 1382621"/>
                  <a:gd name="connsiteY6" fmla="*/ 745293 h 1204036"/>
                  <a:gd name="connsiteX7" fmla="*/ 721498 w 1382621"/>
                  <a:gd name="connsiteY7" fmla="*/ 461448 h 1204036"/>
                  <a:gd name="connsiteX8" fmla="*/ 369073 w 1382621"/>
                  <a:gd name="connsiteY8" fmla="*/ 219513 h 1204036"/>
                  <a:gd name="connsiteX9" fmla="*/ 130948 w 1382621"/>
                  <a:gd name="connsiteY9" fmla="*/ 19488 h 1204036"/>
                  <a:gd name="connsiteX10" fmla="*/ 5218 w 1382621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1873 w 1379276"/>
                  <a:gd name="connsiteY0" fmla="*/ 244278 h 1204036"/>
                  <a:gd name="connsiteX1" fmla="*/ 257143 w 1379276"/>
                  <a:gd name="connsiteY1" fmla="*/ 419538 h 1204036"/>
                  <a:gd name="connsiteX2" fmla="*/ 601948 w 1379276"/>
                  <a:gd name="connsiteY2" fmla="*/ 718623 h 1204036"/>
                  <a:gd name="connsiteX3" fmla="*/ 868648 w 1379276"/>
                  <a:gd name="connsiteY3" fmla="*/ 994848 h 1204036"/>
                  <a:gd name="connsiteX4" fmla="*/ 1282033 w 1379276"/>
                  <a:gd name="connsiteY4" fmla="*/ 1149153 h 1204036"/>
                  <a:gd name="connsiteX5" fmla="*/ 1379188 w 1379276"/>
                  <a:gd name="connsiteY5" fmla="*/ 901503 h 1204036"/>
                  <a:gd name="connsiteX6" fmla="*/ 1125823 w 1379276"/>
                  <a:gd name="connsiteY6" fmla="*/ 745293 h 1204036"/>
                  <a:gd name="connsiteX7" fmla="*/ 779113 w 1379276"/>
                  <a:gd name="connsiteY7" fmla="*/ 484308 h 1204036"/>
                  <a:gd name="connsiteX8" fmla="*/ 365728 w 1379276"/>
                  <a:gd name="connsiteY8" fmla="*/ 219513 h 1204036"/>
                  <a:gd name="connsiteX9" fmla="*/ 127603 w 1379276"/>
                  <a:gd name="connsiteY9" fmla="*/ 19488 h 1204036"/>
                  <a:gd name="connsiteX10" fmla="*/ 1873 w 1379276"/>
                  <a:gd name="connsiteY10" fmla="*/ 244278 h 1204036"/>
                  <a:gd name="connsiteX0" fmla="*/ 1873 w 1379276"/>
                  <a:gd name="connsiteY0" fmla="*/ 244278 h 1204036"/>
                  <a:gd name="connsiteX1" fmla="*/ 257143 w 1379276"/>
                  <a:gd name="connsiteY1" fmla="*/ 419538 h 1204036"/>
                  <a:gd name="connsiteX2" fmla="*/ 601948 w 1379276"/>
                  <a:gd name="connsiteY2" fmla="*/ 718623 h 1204036"/>
                  <a:gd name="connsiteX3" fmla="*/ 910558 w 1379276"/>
                  <a:gd name="connsiteY3" fmla="*/ 994848 h 1204036"/>
                  <a:gd name="connsiteX4" fmla="*/ 1282033 w 1379276"/>
                  <a:gd name="connsiteY4" fmla="*/ 1149153 h 1204036"/>
                  <a:gd name="connsiteX5" fmla="*/ 1379188 w 1379276"/>
                  <a:gd name="connsiteY5" fmla="*/ 901503 h 1204036"/>
                  <a:gd name="connsiteX6" fmla="*/ 1125823 w 1379276"/>
                  <a:gd name="connsiteY6" fmla="*/ 745293 h 1204036"/>
                  <a:gd name="connsiteX7" fmla="*/ 779113 w 1379276"/>
                  <a:gd name="connsiteY7" fmla="*/ 484308 h 1204036"/>
                  <a:gd name="connsiteX8" fmla="*/ 365728 w 1379276"/>
                  <a:gd name="connsiteY8" fmla="*/ 219513 h 1204036"/>
                  <a:gd name="connsiteX9" fmla="*/ 127603 w 1379276"/>
                  <a:gd name="connsiteY9" fmla="*/ 19488 h 1204036"/>
                  <a:gd name="connsiteX10" fmla="*/ 1873 w 1379276"/>
                  <a:gd name="connsiteY10" fmla="*/ 244278 h 120403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0150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0150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0150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2817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2817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79276" h="1206796">
                    <a:moveTo>
                      <a:pt x="1873" y="244278"/>
                    </a:moveTo>
                    <a:cubicBezTo>
                      <a:pt x="13303" y="348418"/>
                      <a:pt x="78073" y="441128"/>
                      <a:pt x="257143" y="419538"/>
                    </a:cubicBezTo>
                    <a:cubicBezTo>
                      <a:pt x="234918" y="564953"/>
                      <a:pt x="376523" y="782758"/>
                      <a:pt x="601948" y="718623"/>
                    </a:cubicBezTo>
                    <a:cubicBezTo>
                      <a:pt x="530828" y="947858"/>
                      <a:pt x="787368" y="1085653"/>
                      <a:pt x="910558" y="994848"/>
                    </a:cubicBezTo>
                    <a:cubicBezTo>
                      <a:pt x="917543" y="1160583"/>
                      <a:pt x="1065498" y="1284408"/>
                      <a:pt x="1282033" y="1149153"/>
                    </a:cubicBezTo>
                    <a:cubicBezTo>
                      <a:pt x="1352518" y="1094543"/>
                      <a:pt x="1381093" y="1009453"/>
                      <a:pt x="1379188" y="928173"/>
                    </a:cubicBezTo>
                    <a:cubicBezTo>
                      <a:pt x="1381093" y="869753"/>
                      <a:pt x="1291558" y="727513"/>
                      <a:pt x="1125823" y="745293"/>
                    </a:cubicBezTo>
                    <a:cubicBezTo>
                      <a:pt x="1156303" y="513518"/>
                      <a:pt x="939133" y="399853"/>
                      <a:pt x="779113" y="484308"/>
                    </a:cubicBezTo>
                    <a:cubicBezTo>
                      <a:pt x="833088" y="333813"/>
                      <a:pt x="574643" y="57588"/>
                      <a:pt x="365728" y="219513"/>
                    </a:cubicBezTo>
                    <a:cubicBezTo>
                      <a:pt x="414623" y="16948"/>
                      <a:pt x="193008" y="-33217"/>
                      <a:pt x="127603" y="19488"/>
                    </a:cubicBezTo>
                    <a:cubicBezTo>
                      <a:pt x="82201" y="42666"/>
                      <a:pt x="-14637" y="116643"/>
                      <a:pt x="1873" y="244278"/>
                    </a:cubicBezTo>
                    <a:close/>
                  </a:path>
                </a:pathLst>
              </a:custGeom>
              <a:ln w="381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501A1C5-2CF8-284D-9D96-9D80011A4ECF}"/>
                </a:ext>
              </a:extLst>
            </p:cNvPr>
            <p:cNvSpPr/>
            <p:nvPr/>
          </p:nvSpPr>
          <p:spPr>
            <a:xfrm>
              <a:off x="5508578" y="3032955"/>
              <a:ext cx="828092" cy="923529"/>
            </a:xfrm>
            <a:prstGeom prst="ellipse">
              <a:avLst/>
            </a:prstGeom>
            <a:solidFill>
              <a:srgbClr val="8D8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6675E69-EAA8-CC42-B51F-E6791382E88C}"/>
                </a:ext>
              </a:extLst>
            </p:cNvPr>
            <p:cNvSpPr/>
            <p:nvPr/>
          </p:nvSpPr>
          <p:spPr>
            <a:xfrm>
              <a:off x="2793102" y="3725352"/>
              <a:ext cx="828628" cy="923529"/>
            </a:xfrm>
            <a:prstGeom prst="ellipse">
              <a:avLst/>
            </a:prstGeom>
            <a:solidFill>
              <a:srgbClr val="8D8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6928AA0-701A-3442-84C5-1CBD66B8F2DE}"/>
                </a:ext>
              </a:extLst>
            </p:cNvPr>
            <p:cNvSpPr/>
            <p:nvPr/>
          </p:nvSpPr>
          <p:spPr>
            <a:xfrm>
              <a:off x="4799856" y="5259938"/>
              <a:ext cx="828092" cy="923529"/>
            </a:xfrm>
            <a:prstGeom prst="ellipse">
              <a:avLst/>
            </a:prstGeom>
            <a:solidFill>
              <a:srgbClr val="8D8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23CEACC-340F-BD4A-A34D-5D5F0FCA8CB9}"/>
                </a:ext>
              </a:extLst>
            </p:cNvPr>
            <p:cNvSpPr txBox="1"/>
            <p:nvPr/>
          </p:nvSpPr>
          <p:spPr>
            <a:xfrm>
              <a:off x="5442456" y="2309884"/>
              <a:ext cx="960339" cy="789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400" b="1">
                  <a:ln w="12700">
                    <a:solidFill>
                      <a:schemeClr val="bg1"/>
                    </a:solidFill>
                  </a:ln>
                  <a:solidFill>
                    <a:srgbClr val="8D8EA7"/>
                  </a:solidFill>
                  <a:latin typeface="Arial" pitchFamily="34" charset="0"/>
                  <a:cs typeface="Arial" pitchFamily="34" charset="0"/>
                </a:rPr>
                <a:t>01</a:t>
              </a:r>
              <a:endParaRPr lang="ko-KR" altLang="en-US" sz="4400" b="1">
                <a:ln w="12700">
                  <a:solidFill>
                    <a:schemeClr val="bg1"/>
                  </a:solidFill>
                </a:ln>
                <a:solidFill>
                  <a:srgbClr val="8D8EA7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B9326CA-1614-A241-91EB-49D31121D22E}"/>
                </a:ext>
              </a:extLst>
            </p:cNvPr>
            <p:cNvGrpSpPr/>
            <p:nvPr/>
          </p:nvGrpSpPr>
          <p:grpSpPr>
            <a:xfrm>
              <a:off x="2850454" y="1750924"/>
              <a:ext cx="3797358" cy="1202139"/>
              <a:chOff x="2060664" y="4261947"/>
              <a:chExt cx="4046063" cy="1202139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D0E6623-7400-4B49-937D-9D8744481A7C}"/>
                  </a:ext>
                </a:extLst>
              </p:cNvPr>
              <p:cNvSpPr txBox="1"/>
              <p:nvPr/>
            </p:nvSpPr>
            <p:spPr>
              <a:xfrm>
                <a:off x="2757214" y="4864024"/>
                <a:ext cx="2357002" cy="6000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Dedicated SQL Pools for Data warehousing</a:t>
                </a:r>
                <a:endPara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5C0C163-2242-A64D-9C16-D597A93915DD}"/>
                  </a:ext>
                </a:extLst>
              </p:cNvPr>
              <p:cNvSpPr txBox="1"/>
              <p:nvPr/>
            </p:nvSpPr>
            <p:spPr>
              <a:xfrm>
                <a:off x="2060664" y="4261947"/>
                <a:ext cx="4046063" cy="6632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b="1" dirty="0">
                    <a:latin typeface="Arial" pitchFamily="34" charset="0"/>
                    <a:cs typeface="Arial" pitchFamily="34" charset="0"/>
                  </a:rPr>
                  <a:t>Data Warehousing and Connectors for External Data Sources  </a:t>
                </a:r>
                <a:endParaRPr lang="ko-KR" alt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A3AA94C-3A67-5A40-BD57-5226574963DE}"/>
                </a:ext>
              </a:extLst>
            </p:cNvPr>
            <p:cNvGrpSpPr/>
            <p:nvPr/>
          </p:nvGrpSpPr>
          <p:grpSpPr>
            <a:xfrm>
              <a:off x="47349" y="4558957"/>
              <a:ext cx="2927452" cy="1185242"/>
              <a:chOff x="1643779" y="4283314"/>
              <a:chExt cx="3244892" cy="1185242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961BB307-B727-5B46-8735-5B307AA73EAB}"/>
                  </a:ext>
                </a:extLst>
              </p:cNvPr>
              <p:cNvSpPr txBox="1"/>
              <p:nvPr/>
            </p:nvSpPr>
            <p:spPr>
              <a:xfrm>
                <a:off x="1643779" y="4868493"/>
                <a:ext cx="3131530" cy="6000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Built-in ETL pipeline Orchestration components</a:t>
                </a:r>
                <a:endPara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53FBF380-383B-2145-B381-3F5D99CE34C5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6632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b="1" dirty="0">
                    <a:latin typeface="Arial" pitchFamily="34" charset="0"/>
                    <a:cs typeface="Arial" pitchFamily="34" charset="0"/>
                  </a:rPr>
                  <a:t>Data Pipeline Orchestration</a:t>
                </a:r>
                <a:endParaRPr lang="ko-KR" alt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D03EE06-7E92-1E4C-8E00-BCC02B26F874}"/>
                </a:ext>
              </a:extLst>
            </p:cNvPr>
            <p:cNvSpPr txBox="1"/>
            <p:nvPr/>
          </p:nvSpPr>
          <p:spPr>
            <a:xfrm>
              <a:off x="1753793" y="3754680"/>
              <a:ext cx="960339" cy="789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400" b="1">
                  <a:ln w="12700">
                    <a:solidFill>
                      <a:schemeClr val="bg1"/>
                    </a:solidFill>
                  </a:ln>
                  <a:solidFill>
                    <a:srgbClr val="8D8EA7"/>
                  </a:solidFill>
                  <a:latin typeface="Arial" pitchFamily="34" charset="0"/>
                  <a:cs typeface="Arial" pitchFamily="34" charset="0"/>
                </a:rPr>
                <a:t>02</a:t>
              </a:r>
              <a:endParaRPr lang="ko-KR" altLang="en-US" sz="4400" b="1">
                <a:ln w="12700">
                  <a:solidFill>
                    <a:schemeClr val="bg1"/>
                  </a:solidFill>
                </a:ln>
                <a:solidFill>
                  <a:srgbClr val="8D8EA7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AB8113B-E365-3443-8C2C-2557B0FEE81E}"/>
                </a:ext>
              </a:extLst>
            </p:cNvPr>
            <p:cNvSpPr txBox="1"/>
            <p:nvPr/>
          </p:nvSpPr>
          <p:spPr>
            <a:xfrm>
              <a:off x="6447054" y="5239668"/>
              <a:ext cx="960339" cy="789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400" b="1">
                  <a:ln w="12700">
                    <a:solidFill>
                      <a:schemeClr val="bg1"/>
                    </a:solidFill>
                  </a:ln>
                  <a:solidFill>
                    <a:srgbClr val="8D8EA7"/>
                  </a:solidFill>
                  <a:latin typeface="Arial" pitchFamily="34" charset="0"/>
                  <a:cs typeface="Arial" pitchFamily="34" charset="0"/>
                </a:rPr>
                <a:t>03</a:t>
              </a:r>
              <a:endParaRPr lang="ko-KR" altLang="en-US" sz="4400" b="1">
                <a:ln w="12700">
                  <a:solidFill>
                    <a:schemeClr val="bg1"/>
                  </a:solidFill>
                </a:ln>
                <a:solidFill>
                  <a:srgbClr val="8D8EA7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39CB993-EE13-F14C-A658-01576520A76B}"/>
                </a:ext>
              </a:extLst>
            </p:cNvPr>
            <p:cNvGrpSpPr/>
            <p:nvPr/>
          </p:nvGrpSpPr>
          <p:grpSpPr>
            <a:xfrm>
              <a:off x="7299549" y="4786153"/>
              <a:ext cx="3003548" cy="1443126"/>
              <a:chOff x="2551706" y="3906744"/>
              <a:chExt cx="2657515" cy="1443126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48AA0F8-2814-FC41-BCE1-AC37F2CDAA91}"/>
                  </a:ext>
                </a:extLst>
              </p:cNvPr>
              <p:cNvSpPr txBox="1"/>
              <p:nvPr/>
            </p:nvSpPr>
            <p:spPr>
              <a:xfrm>
                <a:off x="2551706" y="4560313"/>
                <a:ext cx="2357002" cy="7895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Spark Pools and Development Notebooks</a:t>
                </a:r>
              </a:p>
              <a:p>
                <a:pPr algn="r"/>
                <a:endParaRPr lang="ko-KR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97EFDDC1-CE4C-AF46-A022-7FC7987F17FF}"/>
                  </a:ext>
                </a:extLst>
              </p:cNvPr>
              <p:cNvSpPr txBox="1"/>
              <p:nvPr/>
            </p:nvSpPr>
            <p:spPr>
              <a:xfrm>
                <a:off x="2561724" y="3906744"/>
                <a:ext cx="2647497" cy="6632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b="1" dirty="0">
                    <a:latin typeface="Arial" pitchFamily="34" charset="0"/>
                    <a:cs typeface="Arial" pitchFamily="34" charset="0"/>
                  </a:rPr>
                  <a:t>Big Data Spark Clusters and Development Environment</a:t>
                </a:r>
                <a:endParaRPr lang="ko-KR" alt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8" name="Isosceles Triangle 22">
              <a:extLst>
                <a:ext uri="{FF2B5EF4-FFF2-40B4-BE49-F238E27FC236}">
                  <a16:creationId xmlns:a16="http://schemas.microsoft.com/office/drawing/2014/main" id="{DD6DD8FD-387D-3D4B-81C4-87AA8F0859A0}"/>
                </a:ext>
              </a:extLst>
            </p:cNvPr>
            <p:cNvSpPr/>
            <p:nvPr/>
          </p:nvSpPr>
          <p:spPr>
            <a:xfrm rot="19800000">
              <a:off x="5030275" y="5463418"/>
              <a:ext cx="404325" cy="404257"/>
            </a:xfrm>
            <a:custGeom>
              <a:avLst/>
              <a:gdLst/>
              <a:ahLst/>
              <a:cxnLst/>
              <a:rect l="l" t="t" r="r" b="b"/>
              <a:pathLst>
                <a:path w="3948369" h="3947711">
                  <a:moveTo>
                    <a:pt x="1024184" y="1327019"/>
                  </a:moveTo>
                  <a:cubicBezTo>
                    <a:pt x="953964" y="1286477"/>
                    <a:pt x="864174" y="1310536"/>
                    <a:pt x="823632" y="1380756"/>
                  </a:cubicBezTo>
                  <a:cubicBezTo>
                    <a:pt x="783091" y="1450976"/>
                    <a:pt x="807150" y="1540767"/>
                    <a:pt x="877370" y="1581308"/>
                  </a:cubicBezTo>
                  <a:cubicBezTo>
                    <a:pt x="947590" y="1621850"/>
                    <a:pt x="1037380" y="1597790"/>
                    <a:pt x="1077922" y="1527570"/>
                  </a:cubicBezTo>
                  <a:cubicBezTo>
                    <a:pt x="1118463" y="1457350"/>
                    <a:pt x="1094404" y="1367560"/>
                    <a:pt x="1024184" y="1327019"/>
                  </a:cubicBezTo>
                  <a:close/>
                  <a:moveTo>
                    <a:pt x="3610643" y="2228121"/>
                  </a:moveTo>
                  <a:cubicBezTo>
                    <a:pt x="3600833" y="2220477"/>
                    <a:pt x="3589363" y="2214630"/>
                    <a:pt x="3576595" y="2211209"/>
                  </a:cubicBezTo>
                  <a:cubicBezTo>
                    <a:pt x="3525522" y="2197524"/>
                    <a:pt x="3473024" y="2227833"/>
                    <a:pt x="3459339" y="2278906"/>
                  </a:cubicBezTo>
                  <a:cubicBezTo>
                    <a:pt x="3445654" y="2329979"/>
                    <a:pt x="3475964" y="2382476"/>
                    <a:pt x="3527037" y="2396161"/>
                  </a:cubicBezTo>
                  <a:cubicBezTo>
                    <a:pt x="3578110" y="2409846"/>
                    <a:pt x="3630607" y="2379537"/>
                    <a:pt x="3644292" y="2328464"/>
                  </a:cubicBezTo>
                  <a:cubicBezTo>
                    <a:pt x="3654556" y="2290159"/>
                    <a:pt x="3640073" y="2251053"/>
                    <a:pt x="3610643" y="2228121"/>
                  </a:cubicBezTo>
                  <a:close/>
                  <a:moveTo>
                    <a:pt x="3948369" y="2177025"/>
                  </a:moveTo>
                  <a:lnTo>
                    <a:pt x="3902391" y="2247588"/>
                  </a:lnTo>
                  <a:cubicBezTo>
                    <a:pt x="3840166" y="2207044"/>
                    <a:pt x="3769677" y="2184131"/>
                    <a:pt x="3697935" y="2180296"/>
                  </a:cubicBezTo>
                  <a:cubicBezTo>
                    <a:pt x="3737123" y="2226403"/>
                    <a:pt x="3753617" y="2290363"/>
                    <a:pt x="3736768" y="2353243"/>
                  </a:cubicBezTo>
                  <a:cubicBezTo>
                    <a:pt x="3709398" y="2455390"/>
                    <a:pt x="3604404" y="2516008"/>
                    <a:pt x="3502258" y="2488638"/>
                  </a:cubicBezTo>
                  <a:cubicBezTo>
                    <a:pt x="3400111" y="2461268"/>
                    <a:pt x="3339493" y="2356274"/>
                    <a:pt x="3366863" y="2254127"/>
                  </a:cubicBezTo>
                  <a:cubicBezTo>
                    <a:pt x="3381032" y="2201247"/>
                    <a:pt x="3416004" y="2159497"/>
                    <a:pt x="3460818" y="2135698"/>
                  </a:cubicBezTo>
                  <a:cubicBezTo>
                    <a:pt x="3436032" y="2129730"/>
                    <a:pt x="3409996" y="2129302"/>
                    <a:pt x="3383900" y="2133133"/>
                  </a:cubicBezTo>
                  <a:cubicBezTo>
                    <a:pt x="3331988" y="2140756"/>
                    <a:pt x="3285146" y="2164460"/>
                    <a:pt x="3249703" y="2200200"/>
                  </a:cubicBezTo>
                  <a:cubicBezTo>
                    <a:pt x="3299772" y="2410806"/>
                    <a:pt x="3262997" y="2663063"/>
                    <a:pt x="3111944" y="2983361"/>
                  </a:cubicBezTo>
                  <a:cubicBezTo>
                    <a:pt x="2900481" y="3337269"/>
                    <a:pt x="2604169" y="3479398"/>
                    <a:pt x="2264290" y="3473876"/>
                  </a:cubicBezTo>
                  <a:lnTo>
                    <a:pt x="1854414" y="3947711"/>
                  </a:lnTo>
                  <a:lnTo>
                    <a:pt x="1615515" y="3809782"/>
                  </a:lnTo>
                  <a:lnTo>
                    <a:pt x="1764774" y="3379707"/>
                  </a:lnTo>
                  <a:cubicBezTo>
                    <a:pt x="1587770" y="3319643"/>
                    <a:pt x="1405350" y="3232972"/>
                    <a:pt x="1221865" y="3127037"/>
                  </a:cubicBezTo>
                  <a:cubicBezTo>
                    <a:pt x="1120271" y="3068382"/>
                    <a:pt x="1025311" y="3004264"/>
                    <a:pt x="938291" y="2935309"/>
                  </a:cubicBezTo>
                  <a:lnTo>
                    <a:pt x="509476" y="3157353"/>
                  </a:lnTo>
                  <a:lnTo>
                    <a:pt x="247593" y="2999226"/>
                  </a:lnTo>
                  <a:lnTo>
                    <a:pt x="599626" y="2603610"/>
                  </a:lnTo>
                  <a:cubicBezTo>
                    <a:pt x="384783" y="2338553"/>
                    <a:pt x="289709" y="2193107"/>
                    <a:pt x="174176" y="1843897"/>
                  </a:cubicBezTo>
                  <a:lnTo>
                    <a:pt x="0" y="1381252"/>
                  </a:lnTo>
                  <a:lnTo>
                    <a:pt x="107522" y="1111013"/>
                  </a:lnTo>
                  <a:cubicBezTo>
                    <a:pt x="159316" y="1021302"/>
                    <a:pt x="259400" y="1099908"/>
                    <a:pt x="349113" y="1151702"/>
                  </a:cubicBezTo>
                  <a:lnTo>
                    <a:pt x="486246" y="1217020"/>
                  </a:lnTo>
                  <a:cubicBezTo>
                    <a:pt x="628225" y="1148493"/>
                    <a:pt x="768311" y="1094036"/>
                    <a:pt x="908721" y="1057007"/>
                  </a:cubicBezTo>
                  <a:cubicBezTo>
                    <a:pt x="1011476" y="947354"/>
                    <a:pt x="1021990" y="857768"/>
                    <a:pt x="976491" y="611195"/>
                  </a:cubicBezTo>
                  <a:cubicBezTo>
                    <a:pt x="1335325" y="817429"/>
                    <a:pt x="1326102" y="899150"/>
                    <a:pt x="1389221" y="1007976"/>
                  </a:cubicBezTo>
                  <a:cubicBezTo>
                    <a:pt x="1615807" y="1002289"/>
                    <a:pt x="1836555" y="1044211"/>
                    <a:pt x="2066828" y="1133629"/>
                  </a:cubicBezTo>
                  <a:cubicBezTo>
                    <a:pt x="2047082" y="1203277"/>
                    <a:pt x="2048342" y="1275855"/>
                    <a:pt x="2067080" y="1343672"/>
                  </a:cubicBezTo>
                  <a:cubicBezTo>
                    <a:pt x="2009772" y="1325329"/>
                    <a:pt x="1950048" y="1312156"/>
                    <a:pt x="1888409" y="1302802"/>
                  </a:cubicBezTo>
                  <a:lnTo>
                    <a:pt x="1831983" y="1466454"/>
                  </a:lnTo>
                  <a:cubicBezTo>
                    <a:pt x="2171713" y="1545279"/>
                    <a:pt x="2334158" y="1639067"/>
                    <a:pt x="2533793" y="1871644"/>
                  </a:cubicBezTo>
                  <a:lnTo>
                    <a:pt x="2655130" y="1752801"/>
                  </a:lnTo>
                  <a:cubicBezTo>
                    <a:pt x="2623271" y="1710443"/>
                    <a:pt x="2589631" y="1671169"/>
                    <a:pt x="2553401" y="1635762"/>
                  </a:cubicBezTo>
                  <a:cubicBezTo>
                    <a:pt x="2626342" y="1620812"/>
                    <a:pt x="2694472" y="1585039"/>
                    <a:pt x="2748239" y="1530606"/>
                  </a:cubicBezTo>
                  <a:cubicBezTo>
                    <a:pt x="2959801" y="1699876"/>
                    <a:pt x="3152007" y="1908367"/>
                    <a:pt x="3223775" y="2111154"/>
                  </a:cubicBezTo>
                  <a:cubicBezTo>
                    <a:pt x="3265103" y="2076949"/>
                    <a:pt x="3316077" y="2055387"/>
                    <a:pt x="3371292" y="2047279"/>
                  </a:cubicBezTo>
                  <a:cubicBezTo>
                    <a:pt x="3454199" y="2035105"/>
                    <a:pt x="3536665" y="2054733"/>
                    <a:pt x="3603728" y="2099347"/>
                  </a:cubicBezTo>
                  <a:cubicBezTo>
                    <a:pt x="3679156" y="2088543"/>
                    <a:pt x="3756158" y="2095770"/>
                    <a:pt x="3828792" y="2119628"/>
                  </a:cubicBezTo>
                  <a:cubicBezTo>
                    <a:pt x="3870454" y="2133311"/>
                    <a:pt x="3910678" y="2152466"/>
                    <a:pt x="3948369" y="2177025"/>
                  </a:cubicBezTo>
                  <a:close/>
                  <a:moveTo>
                    <a:pt x="2661401" y="883270"/>
                  </a:moveTo>
                  <a:cubicBezTo>
                    <a:pt x="2838812" y="985699"/>
                    <a:pt x="2899598" y="1212554"/>
                    <a:pt x="2797170" y="1389966"/>
                  </a:cubicBezTo>
                  <a:cubicBezTo>
                    <a:pt x="2694741" y="1567377"/>
                    <a:pt x="2467885" y="1628163"/>
                    <a:pt x="2290474" y="1525735"/>
                  </a:cubicBezTo>
                  <a:cubicBezTo>
                    <a:pt x="2113063" y="1423306"/>
                    <a:pt x="2052277" y="1196450"/>
                    <a:pt x="2154705" y="1019039"/>
                  </a:cubicBezTo>
                  <a:cubicBezTo>
                    <a:pt x="2257134" y="841627"/>
                    <a:pt x="2483990" y="780842"/>
                    <a:pt x="2661401" y="883270"/>
                  </a:cubicBezTo>
                  <a:close/>
                  <a:moveTo>
                    <a:pt x="2494139" y="49756"/>
                  </a:moveTo>
                  <a:cubicBezTo>
                    <a:pt x="2671551" y="152184"/>
                    <a:pt x="2732337" y="379040"/>
                    <a:pt x="2629908" y="556451"/>
                  </a:cubicBezTo>
                  <a:cubicBezTo>
                    <a:pt x="2527480" y="733863"/>
                    <a:pt x="2300624" y="794648"/>
                    <a:pt x="2123212" y="692220"/>
                  </a:cubicBezTo>
                  <a:cubicBezTo>
                    <a:pt x="1945801" y="589791"/>
                    <a:pt x="1885015" y="362936"/>
                    <a:pt x="1987444" y="185524"/>
                  </a:cubicBezTo>
                  <a:cubicBezTo>
                    <a:pt x="2089872" y="8113"/>
                    <a:pt x="2316728" y="-52673"/>
                    <a:pt x="2494139" y="497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  <p:sp>
          <p:nvSpPr>
            <p:cNvPr id="29" name="Donut 15">
              <a:extLst>
                <a:ext uri="{FF2B5EF4-FFF2-40B4-BE49-F238E27FC236}">
                  <a16:creationId xmlns:a16="http://schemas.microsoft.com/office/drawing/2014/main" id="{220CBE5F-3AC6-9A47-97CB-BE73192C1FEE}"/>
                </a:ext>
              </a:extLst>
            </p:cNvPr>
            <p:cNvSpPr/>
            <p:nvPr/>
          </p:nvSpPr>
          <p:spPr>
            <a:xfrm>
              <a:off x="5708099" y="3230663"/>
              <a:ext cx="429048" cy="480235"/>
            </a:xfrm>
            <a:custGeom>
              <a:avLst/>
              <a:gdLst/>
              <a:ahLst/>
              <a:cxnLst/>
              <a:rect l="l" t="t" r="r" b="b"/>
              <a:pathLst>
                <a:path w="3821708" h="3795110">
                  <a:moveTo>
                    <a:pt x="1910854" y="903842"/>
                  </a:moveTo>
                  <a:lnTo>
                    <a:pt x="1793831" y="1129420"/>
                  </a:lnTo>
                  <a:lnTo>
                    <a:pt x="1791613" y="1129420"/>
                  </a:lnTo>
                  <a:lnTo>
                    <a:pt x="1791892" y="1133157"/>
                  </a:lnTo>
                  <a:lnTo>
                    <a:pt x="1791613" y="1133695"/>
                  </a:lnTo>
                  <a:lnTo>
                    <a:pt x="1791933" y="1133695"/>
                  </a:lnTo>
                  <a:lnTo>
                    <a:pt x="1833002" y="1683464"/>
                  </a:lnTo>
                  <a:cubicBezTo>
                    <a:pt x="1744939" y="1714584"/>
                    <a:pt x="1682254" y="1798749"/>
                    <a:pt x="1682254" y="1897555"/>
                  </a:cubicBezTo>
                  <a:cubicBezTo>
                    <a:pt x="1682254" y="2023808"/>
                    <a:pt x="1784602" y="2126156"/>
                    <a:pt x="1910855" y="2126156"/>
                  </a:cubicBezTo>
                  <a:cubicBezTo>
                    <a:pt x="1975561" y="2126156"/>
                    <a:pt x="2033988" y="2099273"/>
                    <a:pt x="2075304" y="2055803"/>
                  </a:cubicBezTo>
                  <a:lnTo>
                    <a:pt x="2443125" y="2288080"/>
                  </a:lnTo>
                  <a:lnTo>
                    <a:pt x="2443003" y="2288309"/>
                  </a:lnTo>
                  <a:lnTo>
                    <a:pt x="2443494" y="2288314"/>
                  </a:lnTo>
                  <a:lnTo>
                    <a:pt x="2446061" y="2289935"/>
                  </a:lnTo>
                  <a:lnTo>
                    <a:pt x="2446904" y="2288348"/>
                  </a:lnTo>
                  <a:lnTo>
                    <a:pt x="2652725" y="2290436"/>
                  </a:lnTo>
                  <a:lnTo>
                    <a:pt x="2535900" y="2120971"/>
                  </a:lnTo>
                  <a:lnTo>
                    <a:pt x="2536744" y="2119385"/>
                  </a:lnTo>
                  <a:lnTo>
                    <a:pt x="2533964" y="2118163"/>
                  </a:lnTo>
                  <a:lnTo>
                    <a:pt x="2533686" y="2117759"/>
                  </a:lnTo>
                  <a:lnTo>
                    <a:pt x="2533565" y="2117988"/>
                  </a:lnTo>
                  <a:lnTo>
                    <a:pt x="2134900" y="1942755"/>
                  </a:lnTo>
                  <a:cubicBezTo>
                    <a:pt x="2137918" y="1928156"/>
                    <a:pt x="2139456" y="1913035"/>
                    <a:pt x="2139456" y="1897555"/>
                  </a:cubicBezTo>
                  <a:cubicBezTo>
                    <a:pt x="2139456" y="1798748"/>
                    <a:pt x="2076770" y="1714583"/>
                    <a:pt x="1988706" y="1683463"/>
                  </a:cubicBezTo>
                  <a:lnTo>
                    <a:pt x="2029775" y="1133695"/>
                  </a:lnTo>
                  <a:lnTo>
                    <a:pt x="2030094" y="1133695"/>
                  </a:lnTo>
                  <a:lnTo>
                    <a:pt x="2029815" y="1133157"/>
                  </a:lnTo>
                  <a:lnTo>
                    <a:pt x="2030094" y="1129420"/>
                  </a:lnTo>
                  <a:lnTo>
                    <a:pt x="2027877" y="1129420"/>
                  </a:lnTo>
                  <a:close/>
                  <a:moveTo>
                    <a:pt x="1910854" y="565406"/>
                  </a:moveTo>
                  <a:cubicBezTo>
                    <a:pt x="2646579" y="565406"/>
                    <a:pt x="3243002" y="1161829"/>
                    <a:pt x="3243002" y="1897554"/>
                  </a:cubicBezTo>
                  <a:cubicBezTo>
                    <a:pt x="3243002" y="2633279"/>
                    <a:pt x="2646579" y="3229702"/>
                    <a:pt x="1910854" y="3229702"/>
                  </a:cubicBezTo>
                  <a:cubicBezTo>
                    <a:pt x="1175129" y="3229702"/>
                    <a:pt x="578706" y="2633279"/>
                    <a:pt x="578706" y="1897554"/>
                  </a:cubicBezTo>
                  <a:cubicBezTo>
                    <a:pt x="578706" y="1161829"/>
                    <a:pt x="1175129" y="565406"/>
                    <a:pt x="1910854" y="565406"/>
                  </a:cubicBezTo>
                  <a:close/>
                  <a:moveTo>
                    <a:pt x="1766837" y="367010"/>
                  </a:moveTo>
                  <a:cubicBezTo>
                    <a:pt x="1050362" y="432397"/>
                    <a:pt x="475174" y="981146"/>
                    <a:pt x="377476" y="1681610"/>
                  </a:cubicBezTo>
                  <a:lnTo>
                    <a:pt x="426306" y="1681610"/>
                  </a:lnTo>
                  <a:cubicBezTo>
                    <a:pt x="510474" y="1681610"/>
                    <a:pt x="578706" y="1746088"/>
                    <a:pt x="578706" y="1825626"/>
                  </a:cubicBezTo>
                  <a:cubicBezTo>
                    <a:pt x="578706" y="1905164"/>
                    <a:pt x="510474" y="1969642"/>
                    <a:pt x="426306" y="1969642"/>
                  </a:cubicBezTo>
                  <a:lnTo>
                    <a:pt x="364094" y="1969642"/>
                  </a:lnTo>
                  <a:cubicBezTo>
                    <a:pt x="398055" y="2738400"/>
                    <a:pt x="1003246" y="3359660"/>
                    <a:pt x="1769417" y="3427809"/>
                  </a:cubicBezTo>
                  <a:lnTo>
                    <a:pt x="1769417" y="3382101"/>
                  </a:lnTo>
                  <a:cubicBezTo>
                    <a:pt x="1769417" y="3297933"/>
                    <a:pt x="1833895" y="3229701"/>
                    <a:pt x="1913433" y="3229701"/>
                  </a:cubicBezTo>
                  <a:cubicBezTo>
                    <a:pt x="1992971" y="3229701"/>
                    <a:pt x="2057449" y="3297933"/>
                    <a:pt x="2057449" y="3382101"/>
                  </a:cubicBezTo>
                  <a:lnTo>
                    <a:pt x="2057449" y="3427707"/>
                  </a:lnTo>
                  <a:cubicBezTo>
                    <a:pt x="2804164" y="3358467"/>
                    <a:pt x="3396856" y="2764020"/>
                    <a:pt x="3455018" y="2020616"/>
                  </a:cubicBezTo>
                  <a:lnTo>
                    <a:pt x="3395402" y="2020616"/>
                  </a:lnTo>
                  <a:cubicBezTo>
                    <a:pt x="3311234" y="2020616"/>
                    <a:pt x="3243002" y="1956138"/>
                    <a:pt x="3243002" y="1876600"/>
                  </a:cubicBezTo>
                  <a:cubicBezTo>
                    <a:pt x="3243002" y="1797062"/>
                    <a:pt x="3311234" y="1732584"/>
                    <a:pt x="3395402" y="1732584"/>
                  </a:cubicBezTo>
                  <a:lnTo>
                    <a:pt x="3451747" y="1732584"/>
                  </a:lnTo>
                  <a:cubicBezTo>
                    <a:pt x="3374444" y="1008025"/>
                    <a:pt x="2788738" y="434055"/>
                    <a:pt x="2054869" y="367632"/>
                  </a:cubicBezTo>
                  <a:lnTo>
                    <a:pt x="2054869" y="407296"/>
                  </a:lnTo>
                  <a:cubicBezTo>
                    <a:pt x="2054869" y="491464"/>
                    <a:pt x="1990391" y="559696"/>
                    <a:pt x="1910853" y="559696"/>
                  </a:cubicBezTo>
                  <a:cubicBezTo>
                    <a:pt x="1831315" y="559696"/>
                    <a:pt x="1766837" y="491464"/>
                    <a:pt x="1766837" y="407296"/>
                  </a:cubicBezTo>
                  <a:close/>
                  <a:moveTo>
                    <a:pt x="1910854" y="0"/>
                  </a:moveTo>
                  <a:cubicBezTo>
                    <a:pt x="2966190" y="0"/>
                    <a:pt x="3821708" y="849564"/>
                    <a:pt x="3821708" y="1897555"/>
                  </a:cubicBezTo>
                  <a:cubicBezTo>
                    <a:pt x="3821708" y="2945546"/>
                    <a:pt x="2966190" y="3795110"/>
                    <a:pt x="1910854" y="3795110"/>
                  </a:cubicBezTo>
                  <a:cubicBezTo>
                    <a:pt x="855518" y="3795110"/>
                    <a:pt x="0" y="2945546"/>
                    <a:pt x="0" y="1897555"/>
                  </a:cubicBezTo>
                  <a:cubicBezTo>
                    <a:pt x="0" y="849564"/>
                    <a:pt x="855518" y="0"/>
                    <a:pt x="191085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30" name="Oval 21">
              <a:extLst>
                <a:ext uri="{FF2B5EF4-FFF2-40B4-BE49-F238E27FC236}">
                  <a16:creationId xmlns:a16="http://schemas.microsoft.com/office/drawing/2014/main" id="{104138C5-A996-3F4E-B758-EA1404FC8C3C}"/>
                </a:ext>
              </a:extLst>
            </p:cNvPr>
            <p:cNvSpPr/>
            <p:nvPr/>
          </p:nvSpPr>
          <p:spPr>
            <a:xfrm rot="20700000">
              <a:off x="3008022" y="3964879"/>
              <a:ext cx="398254" cy="349040"/>
            </a:xfrm>
            <a:custGeom>
              <a:avLst/>
              <a:gdLst/>
              <a:ahLst/>
              <a:cxnLst/>
              <a:rect l="l" t="t" r="r" b="b"/>
              <a:pathLst>
                <a:path w="4088377" h="3321003">
                  <a:moveTo>
                    <a:pt x="1365628" y="1622218"/>
                  </a:moveTo>
                  <a:cubicBezTo>
                    <a:pt x="1121373" y="1556771"/>
                    <a:pt x="870309" y="1701722"/>
                    <a:pt x="804861" y="1945977"/>
                  </a:cubicBezTo>
                  <a:cubicBezTo>
                    <a:pt x="739413" y="2190232"/>
                    <a:pt x="884365" y="2441296"/>
                    <a:pt x="1128620" y="2506744"/>
                  </a:cubicBezTo>
                  <a:cubicBezTo>
                    <a:pt x="1372875" y="2572191"/>
                    <a:pt x="1623939" y="2427240"/>
                    <a:pt x="1689387" y="2182985"/>
                  </a:cubicBezTo>
                  <a:cubicBezTo>
                    <a:pt x="1754835" y="1938730"/>
                    <a:pt x="1609883" y="1687666"/>
                    <a:pt x="1365628" y="1622218"/>
                  </a:cubicBezTo>
                  <a:close/>
                  <a:moveTo>
                    <a:pt x="1447099" y="1318163"/>
                  </a:moveTo>
                  <a:cubicBezTo>
                    <a:pt x="1859279" y="1428606"/>
                    <a:pt x="2103885" y="1852277"/>
                    <a:pt x="1993442" y="2264456"/>
                  </a:cubicBezTo>
                  <a:cubicBezTo>
                    <a:pt x="1882999" y="2676636"/>
                    <a:pt x="1459328" y="2921242"/>
                    <a:pt x="1047149" y="2810799"/>
                  </a:cubicBezTo>
                  <a:cubicBezTo>
                    <a:pt x="634969" y="2700356"/>
                    <a:pt x="390363" y="2276685"/>
                    <a:pt x="500806" y="1864505"/>
                  </a:cubicBezTo>
                  <a:cubicBezTo>
                    <a:pt x="611249" y="1452326"/>
                    <a:pt x="1034920" y="1207720"/>
                    <a:pt x="1447099" y="1318163"/>
                  </a:cubicBezTo>
                  <a:close/>
                  <a:moveTo>
                    <a:pt x="1476725" y="1207597"/>
                  </a:moveTo>
                  <a:cubicBezTo>
                    <a:pt x="1003481" y="1080792"/>
                    <a:pt x="517045" y="1361635"/>
                    <a:pt x="390240" y="1834879"/>
                  </a:cubicBezTo>
                  <a:cubicBezTo>
                    <a:pt x="263435" y="2308124"/>
                    <a:pt x="544279" y="2794559"/>
                    <a:pt x="1017523" y="2921365"/>
                  </a:cubicBezTo>
                  <a:cubicBezTo>
                    <a:pt x="1490767" y="3048170"/>
                    <a:pt x="1977202" y="2767326"/>
                    <a:pt x="2104008" y="2294082"/>
                  </a:cubicBezTo>
                  <a:cubicBezTo>
                    <a:pt x="2230813" y="1820838"/>
                    <a:pt x="1949969" y="1334403"/>
                    <a:pt x="1476725" y="1207597"/>
                  </a:cubicBezTo>
                  <a:close/>
                  <a:moveTo>
                    <a:pt x="3290290" y="1590224"/>
                  </a:moveTo>
                  <a:cubicBezTo>
                    <a:pt x="3269727" y="1586016"/>
                    <a:pt x="3248437" y="1583806"/>
                    <a:pt x="3226630" y="1583806"/>
                  </a:cubicBezTo>
                  <a:cubicBezTo>
                    <a:pt x="3052179" y="1583806"/>
                    <a:pt x="2910758" y="1725227"/>
                    <a:pt x="2910758" y="1899678"/>
                  </a:cubicBezTo>
                  <a:cubicBezTo>
                    <a:pt x="2910758" y="2074130"/>
                    <a:pt x="3052179" y="2215551"/>
                    <a:pt x="3226630" y="2215550"/>
                  </a:cubicBezTo>
                  <a:cubicBezTo>
                    <a:pt x="3401082" y="2215551"/>
                    <a:pt x="3542503" y="2074130"/>
                    <a:pt x="3542502" y="1899678"/>
                  </a:cubicBezTo>
                  <a:cubicBezTo>
                    <a:pt x="3542503" y="1747033"/>
                    <a:pt x="3434228" y="1619677"/>
                    <a:pt x="3290290" y="1590224"/>
                  </a:cubicBezTo>
                  <a:close/>
                  <a:moveTo>
                    <a:pt x="3334055" y="1377473"/>
                  </a:moveTo>
                  <a:cubicBezTo>
                    <a:pt x="3576950" y="1427177"/>
                    <a:pt x="3759665" y="1642090"/>
                    <a:pt x="3759665" y="1899678"/>
                  </a:cubicBezTo>
                  <a:cubicBezTo>
                    <a:pt x="3759665" y="2194064"/>
                    <a:pt x="3521017" y="2432713"/>
                    <a:pt x="3226630" y="2432713"/>
                  </a:cubicBezTo>
                  <a:cubicBezTo>
                    <a:pt x="2932244" y="2432712"/>
                    <a:pt x="2693596" y="2194065"/>
                    <a:pt x="2693596" y="1899678"/>
                  </a:cubicBezTo>
                  <a:cubicBezTo>
                    <a:pt x="2693596" y="1605292"/>
                    <a:pt x="2932244" y="1366644"/>
                    <a:pt x="3226630" y="1366644"/>
                  </a:cubicBezTo>
                  <a:cubicBezTo>
                    <a:pt x="3263429" y="1366644"/>
                    <a:pt x="3299356" y="1370373"/>
                    <a:pt x="3334055" y="1377473"/>
                  </a:cubicBezTo>
                  <a:close/>
                  <a:moveTo>
                    <a:pt x="1391137" y="789478"/>
                  </a:moveTo>
                  <a:lnTo>
                    <a:pt x="1759910" y="888290"/>
                  </a:lnTo>
                  <a:lnTo>
                    <a:pt x="1754625" y="1202375"/>
                  </a:lnTo>
                  <a:lnTo>
                    <a:pt x="1744979" y="1199790"/>
                  </a:lnTo>
                  <a:cubicBezTo>
                    <a:pt x="1823578" y="1244024"/>
                    <a:pt x="1894617" y="1298265"/>
                    <a:pt x="1954704" y="1362586"/>
                  </a:cubicBezTo>
                  <a:lnTo>
                    <a:pt x="2234317" y="1293059"/>
                  </a:lnTo>
                  <a:lnTo>
                    <a:pt x="2413554" y="1630152"/>
                  </a:lnTo>
                  <a:lnTo>
                    <a:pt x="2214321" y="1809770"/>
                  </a:lnTo>
                  <a:cubicBezTo>
                    <a:pt x="2239296" y="1900740"/>
                    <a:pt x="2251067" y="1995997"/>
                    <a:pt x="2246841" y="2092825"/>
                  </a:cubicBezTo>
                  <a:lnTo>
                    <a:pt x="2495698" y="2230974"/>
                  </a:lnTo>
                  <a:lnTo>
                    <a:pt x="2396885" y="2599747"/>
                  </a:lnTo>
                  <a:lnTo>
                    <a:pt x="2094912" y="2594668"/>
                  </a:lnTo>
                  <a:cubicBezTo>
                    <a:pt x="2056732" y="2658461"/>
                    <a:pt x="2010475" y="2715996"/>
                    <a:pt x="1958644" y="2767359"/>
                  </a:cubicBezTo>
                  <a:lnTo>
                    <a:pt x="2057814" y="3026193"/>
                  </a:lnTo>
                  <a:lnTo>
                    <a:pt x="1745078" y="3245174"/>
                  </a:lnTo>
                  <a:lnTo>
                    <a:pt x="1507869" y="3039237"/>
                  </a:lnTo>
                  <a:lnTo>
                    <a:pt x="1536736" y="3019025"/>
                  </a:lnTo>
                  <a:cubicBezTo>
                    <a:pt x="1445878" y="3048429"/>
                    <a:pt x="1349798" y="3062567"/>
                    <a:pt x="1251837" y="3062021"/>
                  </a:cubicBezTo>
                  <a:lnTo>
                    <a:pt x="1108065" y="3321003"/>
                  </a:lnTo>
                  <a:lnTo>
                    <a:pt x="739291" y="3222191"/>
                  </a:lnTo>
                  <a:lnTo>
                    <a:pt x="744274" y="2926021"/>
                  </a:lnTo>
                  <a:cubicBezTo>
                    <a:pt x="666128" y="2881484"/>
                    <a:pt x="595548" y="2827017"/>
                    <a:pt x="535891" y="2762576"/>
                  </a:cubicBezTo>
                  <a:lnTo>
                    <a:pt x="540671" y="2772825"/>
                  </a:lnTo>
                  <a:lnTo>
                    <a:pt x="232276" y="2832568"/>
                  </a:lnTo>
                  <a:lnTo>
                    <a:pt x="70927" y="2486556"/>
                  </a:lnTo>
                  <a:lnTo>
                    <a:pt x="279495" y="2317444"/>
                  </a:lnTo>
                  <a:cubicBezTo>
                    <a:pt x="257233" y="2235849"/>
                    <a:pt x="245603" y="2150814"/>
                    <a:pt x="245586" y="2064274"/>
                  </a:cubicBezTo>
                  <a:lnTo>
                    <a:pt x="0" y="1927940"/>
                  </a:lnTo>
                  <a:lnTo>
                    <a:pt x="98812" y="1559167"/>
                  </a:lnTo>
                  <a:lnTo>
                    <a:pt x="380240" y="1563901"/>
                  </a:lnTo>
                  <a:cubicBezTo>
                    <a:pt x="418421" y="1496524"/>
                    <a:pt x="464524" y="1435092"/>
                    <a:pt x="516679" y="1380105"/>
                  </a:cubicBezTo>
                  <a:lnTo>
                    <a:pt x="422419" y="1089378"/>
                  </a:lnTo>
                  <a:lnTo>
                    <a:pt x="746189" y="887063"/>
                  </a:lnTo>
                  <a:lnTo>
                    <a:pt x="972292" y="1105134"/>
                  </a:lnTo>
                  <a:lnTo>
                    <a:pt x="970019" y="1106554"/>
                  </a:lnTo>
                  <a:cubicBezTo>
                    <a:pt x="1058903" y="1078586"/>
                    <a:pt x="1152743" y="1065659"/>
                    <a:pt x="1248316" y="1066709"/>
                  </a:cubicBezTo>
                  <a:lnTo>
                    <a:pt x="1238669" y="1064125"/>
                  </a:lnTo>
                  <a:close/>
                  <a:moveTo>
                    <a:pt x="3349970" y="1300109"/>
                  </a:moveTo>
                  <a:cubicBezTo>
                    <a:pt x="3310130" y="1291957"/>
                    <a:pt x="3268880" y="1287676"/>
                    <a:pt x="3226630" y="1287676"/>
                  </a:cubicBezTo>
                  <a:cubicBezTo>
                    <a:pt x="2888631" y="1287676"/>
                    <a:pt x="2614628" y="1561679"/>
                    <a:pt x="2614628" y="1899678"/>
                  </a:cubicBezTo>
                  <a:cubicBezTo>
                    <a:pt x="2614628" y="2237678"/>
                    <a:pt x="2888630" y="2511680"/>
                    <a:pt x="3226630" y="2511681"/>
                  </a:cubicBezTo>
                  <a:cubicBezTo>
                    <a:pt x="3564630" y="2511681"/>
                    <a:pt x="3838633" y="2237678"/>
                    <a:pt x="3838633" y="1899678"/>
                  </a:cubicBezTo>
                  <a:cubicBezTo>
                    <a:pt x="3838632" y="1603928"/>
                    <a:pt x="3628849" y="1357176"/>
                    <a:pt x="3349970" y="1300109"/>
                  </a:cubicBezTo>
                  <a:close/>
                  <a:moveTo>
                    <a:pt x="3358324" y="1024334"/>
                  </a:moveTo>
                  <a:lnTo>
                    <a:pt x="3410883" y="1234575"/>
                  </a:lnTo>
                  <a:lnTo>
                    <a:pt x="3403994" y="1234575"/>
                  </a:lnTo>
                  <a:cubicBezTo>
                    <a:pt x="3464268" y="1250018"/>
                    <a:pt x="3521292" y="1273478"/>
                    <a:pt x="3572818" y="1305612"/>
                  </a:cubicBezTo>
                  <a:lnTo>
                    <a:pt x="3746730" y="1209354"/>
                  </a:lnTo>
                  <a:lnTo>
                    <a:pt x="3926358" y="1401981"/>
                  </a:lnTo>
                  <a:lnTo>
                    <a:pt x="3825667" y="1557247"/>
                  </a:lnTo>
                  <a:cubicBezTo>
                    <a:pt x="3858552" y="1613408"/>
                    <a:pt x="3883404" y="1674784"/>
                    <a:pt x="3897877" y="1740062"/>
                  </a:cubicBezTo>
                  <a:lnTo>
                    <a:pt x="4088377" y="1787686"/>
                  </a:lnTo>
                  <a:lnTo>
                    <a:pt x="4088377" y="2051071"/>
                  </a:lnTo>
                  <a:lnTo>
                    <a:pt x="3886243" y="2101605"/>
                  </a:lnTo>
                  <a:cubicBezTo>
                    <a:pt x="3872191" y="2150933"/>
                    <a:pt x="3851639" y="2197531"/>
                    <a:pt x="3826272" y="2241013"/>
                  </a:cubicBezTo>
                  <a:lnTo>
                    <a:pt x="3938572" y="2395786"/>
                  </a:lnTo>
                  <a:lnTo>
                    <a:pt x="3769272" y="2597551"/>
                  </a:lnTo>
                  <a:lnTo>
                    <a:pt x="3574432" y="2502674"/>
                  </a:lnTo>
                  <a:lnTo>
                    <a:pt x="3590059" y="2484050"/>
                  </a:lnTo>
                  <a:cubicBezTo>
                    <a:pt x="3534764" y="2519868"/>
                    <a:pt x="3473263" y="2546445"/>
                    <a:pt x="3407886" y="2563572"/>
                  </a:cubicBezTo>
                  <a:lnTo>
                    <a:pt x="3358323" y="2761823"/>
                  </a:lnTo>
                  <a:lnTo>
                    <a:pt x="3094938" y="2761823"/>
                  </a:lnTo>
                  <a:lnTo>
                    <a:pt x="3045375" y="2563574"/>
                  </a:lnTo>
                  <a:cubicBezTo>
                    <a:pt x="2985349" y="2547848"/>
                    <a:pt x="2928591" y="2524155"/>
                    <a:pt x="2877330" y="2491865"/>
                  </a:cubicBezTo>
                  <a:lnTo>
                    <a:pt x="2882346" y="2497841"/>
                  </a:lnTo>
                  <a:lnTo>
                    <a:pt x="2687507" y="2592718"/>
                  </a:lnTo>
                  <a:lnTo>
                    <a:pt x="2518206" y="2390954"/>
                  </a:lnTo>
                  <a:lnTo>
                    <a:pt x="2626994" y="2241021"/>
                  </a:lnTo>
                  <a:cubicBezTo>
                    <a:pt x="2597591" y="2190623"/>
                    <a:pt x="2574657" y="2136035"/>
                    <a:pt x="2559194" y="2078370"/>
                  </a:cubicBezTo>
                  <a:lnTo>
                    <a:pt x="2371198" y="2031371"/>
                  </a:lnTo>
                  <a:lnTo>
                    <a:pt x="2371198" y="1767986"/>
                  </a:lnTo>
                  <a:lnTo>
                    <a:pt x="2559579" y="1720890"/>
                  </a:lnTo>
                  <a:cubicBezTo>
                    <a:pt x="2572992" y="1669175"/>
                    <a:pt x="2592745" y="1620006"/>
                    <a:pt x="2617681" y="1574051"/>
                  </a:cubicBezTo>
                  <a:lnTo>
                    <a:pt x="2502958" y="1397149"/>
                  </a:lnTo>
                  <a:lnTo>
                    <a:pt x="2682587" y="1204520"/>
                  </a:lnTo>
                  <a:lnTo>
                    <a:pt x="2872193" y="1309466"/>
                  </a:lnTo>
                  <a:lnTo>
                    <a:pt x="2870932" y="1310818"/>
                  </a:lnTo>
                  <a:cubicBezTo>
                    <a:pt x="2925169" y="1276310"/>
                    <a:pt x="2985393" y="1250941"/>
                    <a:pt x="3049268" y="1234575"/>
                  </a:cubicBezTo>
                  <a:lnTo>
                    <a:pt x="3042378" y="1234576"/>
                  </a:lnTo>
                  <a:lnTo>
                    <a:pt x="3094939" y="1024334"/>
                  </a:lnTo>
                  <a:close/>
                  <a:moveTo>
                    <a:pt x="2786480" y="402820"/>
                  </a:moveTo>
                  <a:cubicBezTo>
                    <a:pt x="2745900" y="389943"/>
                    <a:pt x="2701172" y="388627"/>
                    <a:pt x="2657264" y="401580"/>
                  </a:cubicBezTo>
                  <a:cubicBezTo>
                    <a:pt x="2540176" y="436121"/>
                    <a:pt x="2473258" y="559041"/>
                    <a:pt x="2507800" y="676128"/>
                  </a:cubicBezTo>
                  <a:cubicBezTo>
                    <a:pt x="2542340" y="793216"/>
                    <a:pt x="2665260" y="860133"/>
                    <a:pt x="2782348" y="825592"/>
                  </a:cubicBezTo>
                  <a:cubicBezTo>
                    <a:pt x="2899435" y="791051"/>
                    <a:pt x="2966353" y="668132"/>
                    <a:pt x="2931812" y="551045"/>
                  </a:cubicBezTo>
                  <a:cubicBezTo>
                    <a:pt x="2910223" y="477864"/>
                    <a:pt x="2854113" y="424282"/>
                    <a:pt x="2786480" y="402820"/>
                  </a:cubicBezTo>
                  <a:close/>
                  <a:moveTo>
                    <a:pt x="2932202" y="47278"/>
                  </a:moveTo>
                  <a:lnTo>
                    <a:pt x="3090904" y="140999"/>
                  </a:lnTo>
                  <a:lnTo>
                    <a:pt x="3054065" y="265147"/>
                  </a:lnTo>
                  <a:cubicBezTo>
                    <a:pt x="3087256" y="296329"/>
                    <a:pt x="3116089" y="332603"/>
                    <a:pt x="3138727" y="373550"/>
                  </a:cubicBezTo>
                  <a:lnTo>
                    <a:pt x="3276016" y="367796"/>
                  </a:lnTo>
                  <a:lnTo>
                    <a:pt x="3328165" y="544574"/>
                  </a:lnTo>
                  <a:lnTo>
                    <a:pt x="3202503" y="618514"/>
                  </a:lnTo>
                  <a:cubicBezTo>
                    <a:pt x="3202838" y="654403"/>
                    <a:pt x="3198271" y="689748"/>
                    <a:pt x="3189855" y="723955"/>
                  </a:cubicBezTo>
                  <a:lnTo>
                    <a:pt x="3295873" y="805599"/>
                  </a:lnTo>
                  <a:lnTo>
                    <a:pt x="3222192" y="974540"/>
                  </a:lnTo>
                  <a:lnTo>
                    <a:pt x="3072634" y="949439"/>
                  </a:lnTo>
                  <a:lnTo>
                    <a:pt x="3079435" y="933845"/>
                  </a:lnTo>
                  <a:cubicBezTo>
                    <a:pt x="3049413" y="968833"/>
                    <a:pt x="3013398" y="998848"/>
                    <a:pt x="2972910" y="1023288"/>
                  </a:cubicBezTo>
                  <a:lnTo>
                    <a:pt x="2978897" y="1166163"/>
                  </a:lnTo>
                  <a:lnTo>
                    <a:pt x="2802119" y="1218312"/>
                  </a:lnTo>
                  <a:lnTo>
                    <a:pt x="2729602" y="1095065"/>
                  </a:lnTo>
                  <a:cubicBezTo>
                    <a:pt x="2686199" y="1096396"/>
                    <a:pt x="2643414" y="1091732"/>
                    <a:pt x="2602615" y="1080209"/>
                  </a:cubicBezTo>
                  <a:lnTo>
                    <a:pt x="2607165" y="1083226"/>
                  </a:lnTo>
                  <a:lnTo>
                    <a:pt x="2495179" y="1185484"/>
                  </a:lnTo>
                  <a:lnTo>
                    <a:pt x="2341599" y="1083585"/>
                  </a:lnTo>
                  <a:lnTo>
                    <a:pt x="2384929" y="961414"/>
                  </a:lnTo>
                  <a:cubicBezTo>
                    <a:pt x="2355215" y="933409"/>
                    <a:pt x="2329015" y="901312"/>
                    <a:pt x="2307218" y="865670"/>
                  </a:cubicBezTo>
                  <a:lnTo>
                    <a:pt x="2171734" y="871348"/>
                  </a:lnTo>
                  <a:lnTo>
                    <a:pt x="2119584" y="694571"/>
                  </a:lnTo>
                  <a:lnTo>
                    <a:pt x="2236697" y="625662"/>
                  </a:lnTo>
                  <a:cubicBezTo>
                    <a:pt x="2235459" y="588297"/>
                    <a:pt x="2238982" y="551385"/>
                    <a:pt x="2246620" y="515603"/>
                  </a:cubicBezTo>
                  <a:lnTo>
                    <a:pt x="2134594" y="419585"/>
                  </a:lnTo>
                  <a:lnTo>
                    <a:pt x="2217016" y="254732"/>
                  </a:lnTo>
                  <a:lnTo>
                    <a:pt x="2365055" y="287627"/>
                  </a:lnTo>
                  <a:lnTo>
                    <a:pt x="2364476" y="288784"/>
                  </a:lnTo>
                  <a:cubicBezTo>
                    <a:pt x="2394046" y="254885"/>
                    <a:pt x="2429444" y="225933"/>
                    <a:pt x="2469075" y="202302"/>
                  </a:cubicBezTo>
                  <a:lnTo>
                    <a:pt x="2464452" y="203666"/>
                  </a:lnTo>
                  <a:lnTo>
                    <a:pt x="2458102" y="52150"/>
                  </a:lnTo>
                  <a:lnTo>
                    <a:pt x="2634880" y="0"/>
                  </a:lnTo>
                  <a:lnTo>
                    <a:pt x="2711784" y="130703"/>
                  </a:lnTo>
                  <a:lnTo>
                    <a:pt x="2707159" y="132067"/>
                  </a:lnTo>
                  <a:cubicBezTo>
                    <a:pt x="2750672" y="130497"/>
                    <a:pt x="2793590" y="134953"/>
                    <a:pt x="2834535" y="1463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</p:spTree>
    <p:extLst>
      <p:ext uri="{BB962C8B-B14F-4D97-AF65-F5344CB8AC3E}">
        <p14:creationId xmlns:p14="http://schemas.microsoft.com/office/powerpoint/2010/main" val="4267647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4354972-CF88-4E0E-9F6C-00B31C2E3A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F10D06-7410-4023-B61D-17EE9BD43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GB" smtClean="0"/>
              <a:t>4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zure Synapse Featur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7FFD8BF-2199-4BBE-A79B-25EA8306DE3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9" name="Rectangle 78">
            <a:extLst>
              <a:ext uri="{FF2B5EF4-FFF2-40B4-BE49-F238E27FC236}">
                <a16:creationId xmlns:a16="http://schemas.microsoft.com/office/drawing/2014/main" id="{5DD25561-0C58-4A52-870B-0FAFD4F38D4F}"/>
              </a:ext>
            </a:extLst>
          </p:cNvPr>
          <p:cNvSpPr/>
          <p:nvPr/>
        </p:nvSpPr>
        <p:spPr>
          <a:xfrm>
            <a:off x="1945295" y="2541698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Integration Datasets</a:t>
            </a:r>
          </a:p>
        </p:txBody>
      </p:sp>
      <p:sp>
        <p:nvSpPr>
          <p:cNvPr id="130" name="RBContent19">
            <a:extLst>
              <a:ext uri="{FF2B5EF4-FFF2-40B4-BE49-F238E27FC236}">
                <a16:creationId xmlns:a16="http://schemas.microsoft.com/office/drawing/2014/main" id="{8E46B1BE-0BE9-4592-A9CE-F66BDC23C17F}"/>
              </a:ext>
            </a:extLst>
          </p:cNvPr>
          <p:cNvSpPr txBox="1"/>
          <p:nvPr/>
        </p:nvSpPr>
        <p:spPr>
          <a:xfrm>
            <a:off x="1438831" y="2470967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2</a:t>
            </a:r>
          </a:p>
        </p:txBody>
      </p:sp>
      <p:sp>
        <p:nvSpPr>
          <p:cNvPr id="131" name="Rectangle 79">
            <a:extLst>
              <a:ext uri="{FF2B5EF4-FFF2-40B4-BE49-F238E27FC236}">
                <a16:creationId xmlns:a16="http://schemas.microsoft.com/office/drawing/2014/main" id="{783DA542-6803-4D34-9143-F0D9E575E38F}"/>
              </a:ext>
            </a:extLst>
          </p:cNvPr>
          <p:cNvSpPr>
            <a:spLocks/>
          </p:cNvSpPr>
          <p:nvPr/>
        </p:nvSpPr>
        <p:spPr>
          <a:xfrm>
            <a:off x="1945292" y="2836075"/>
            <a:ext cx="3600000" cy="4431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tores connection information to datasets themselves</a:t>
            </a:r>
          </a:p>
        </p:txBody>
      </p:sp>
      <p:sp>
        <p:nvSpPr>
          <p:cNvPr id="133" name="Rectangle 78">
            <a:extLst>
              <a:ext uri="{FF2B5EF4-FFF2-40B4-BE49-F238E27FC236}">
                <a16:creationId xmlns:a16="http://schemas.microsoft.com/office/drawing/2014/main" id="{DF182851-65CE-4F0C-885F-A7AAE563C07B}"/>
              </a:ext>
            </a:extLst>
          </p:cNvPr>
          <p:cNvSpPr/>
          <p:nvPr/>
        </p:nvSpPr>
        <p:spPr>
          <a:xfrm>
            <a:off x="1945295" y="3980997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Integration Runtime</a:t>
            </a:r>
          </a:p>
        </p:txBody>
      </p:sp>
      <p:sp>
        <p:nvSpPr>
          <p:cNvPr id="134" name="RBContent19">
            <a:extLst>
              <a:ext uri="{FF2B5EF4-FFF2-40B4-BE49-F238E27FC236}">
                <a16:creationId xmlns:a16="http://schemas.microsoft.com/office/drawing/2014/main" id="{51868CCD-F1A3-4293-B522-BD468643BD88}"/>
              </a:ext>
            </a:extLst>
          </p:cNvPr>
          <p:cNvSpPr txBox="1"/>
          <p:nvPr/>
        </p:nvSpPr>
        <p:spPr>
          <a:xfrm>
            <a:off x="1438831" y="3910266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3</a:t>
            </a:r>
          </a:p>
        </p:txBody>
      </p:sp>
      <p:sp>
        <p:nvSpPr>
          <p:cNvPr id="135" name="Rectangle 79">
            <a:extLst>
              <a:ext uri="{FF2B5EF4-FFF2-40B4-BE49-F238E27FC236}">
                <a16:creationId xmlns:a16="http://schemas.microsoft.com/office/drawing/2014/main" id="{F6829B0E-7A09-4CFB-9DEE-4C710EBBBAE7}"/>
              </a:ext>
            </a:extLst>
          </p:cNvPr>
          <p:cNvSpPr>
            <a:spLocks/>
          </p:cNvSpPr>
          <p:nvPr/>
        </p:nvSpPr>
        <p:spPr>
          <a:xfrm>
            <a:off x="1885951" y="4336579"/>
            <a:ext cx="3600000" cy="1159292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It is referenced by a linked service or a pipeline activity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Provides compute where pipeline activity is dispatched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b="1" dirty="0"/>
              <a:t>Types</a:t>
            </a:r>
            <a:r>
              <a:rPr lang="en-GB" sz="1600" dirty="0"/>
              <a:t>: Azure or Selfhosted</a:t>
            </a:r>
          </a:p>
        </p:txBody>
      </p:sp>
      <p:sp>
        <p:nvSpPr>
          <p:cNvPr id="85" name="RBContent19">
            <a:extLst>
              <a:ext uri="{FF2B5EF4-FFF2-40B4-BE49-F238E27FC236}">
                <a16:creationId xmlns:a16="http://schemas.microsoft.com/office/drawing/2014/main" id="{260D62E5-EE4F-4A43-8F69-ED8B705C215A}"/>
              </a:ext>
            </a:extLst>
          </p:cNvPr>
          <p:cNvSpPr txBox="1"/>
          <p:nvPr/>
        </p:nvSpPr>
        <p:spPr>
          <a:xfrm>
            <a:off x="1438831" y="1031667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 dirty="0">
                <a:solidFill>
                  <a:srgbClr val="8D8EA7"/>
                </a:solidFill>
                <a:latin typeface="+mj-lt"/>
              </a:rPr>
              <a:t>1</a:t>
            </a:r>
          </a:p>
        </p:txBody>
      </p:sp>
      <p:sp>
        <p:nvSpPr>
          <p:cNvPr id="62" name="Rectangle 79">
            <a:extLst>
              <a:ext uri="{FF2B5EF4-FFF2-40B4-BE49-F238E27FC236}">
                <a16:creationId xmlns:a16="http://schemas.microsoft.com/office/drawing/2014/main" id="{13823C49-F45D-4E62-A633-187B39F1F989}"/>
              </a:ext>
            </a:extLst>
          </p:cNvPr>
          <p:cNvSpPr>
            <a:spLocks/>
          </p:cNvSpPr>
          <p:nvPr/>
        </p:nvSpPr>
        <p:spPr>
          <a:xfrm>
            <a:off x="1945292" y="1396775"/>
            <a:ext cx="3600000" cy="113364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tores connection information to external </a:t>
            </a:r>
            <a:r>
              <a:rPr lang="en-GB" sz="1600" dirty="0" err="1"/>
              <a:t>datasources</a:t>
            </a:r>
            <a:r>
              <a:rPr lang="en-GB" sz="1600" dirty="0"/>
              <a:t> or compute like storage account, Azure SQL DB (</a:t>
            </a:r>
            <a:r>
              <a:rPr lang="en-GB" sz="1600" dirty="0" err="1"/>
              <a:t>postgres</a:t>
            </a:r>
            <a:r>
              <a:rPr lang="en-GB" sz="1600" dirty="0"/>
              <a:t>, </a:t>
            </a:r>
            <a:r>
              <a:rPr lang="en-GB" sz="1600" dirty="0" err="1"/>
              <a:t>mysql</a:t>
            </a:r>
            <a:r>
              <a:rPr lang="en-GB" sz="1600" dirty="0"/>
              <a:t>), Azure </a:t>
            </a:r>
            <a:r>
              <a:rPr lang="en-GB" sz="1600" dirty="0" err="1"/>
              <a:t>Keyvault</a:t>
            </a:r>
            <a:endParaRPr lang="en-GB" sz="1600" dirty="0"/>
          </a:p>
          <a:p>
            <a:pPr marL="0" lvl="3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defRPr/>
            </a:pPr>
            <a:endParaRPr lang="en-GB" sz="16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AB93411-6E1B-41B0-A25C-66655E3A8FFC}"/>
              </a:ext>
            </a:extLst>
          </p:cNvPr>
          <p:cNvSpPr/>
          <p:nvPr/>
        </p:nvSpPr>
        <p:spPr>
          <a:xfrm>
            <a:off x="1945295" y="1098024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Linked Services</a:t>
            </a:r>
          </a:p>
        </p:txBody>
      </p:sp>
      <p:sp>
        <p:nvSpPr>
          <p:cNvPr id="148" name="RBContent19">
            <a:extLst>
              <a:ext uri="{FF2B5EF4-FFF2-40B4-BE49-F238E27FC236}">
                <a16:creationId xmlns:a16="http://schemas.microsoft.com/office/drawing/2014/main" id="{55A98B80-9AC2-457B-ABA2-D6CD1D07491A}"/>
              </a:ext>
            </a:extLst>
          </p:cNvPr>
          <p:cNvSpPr txBox="1"/>
          <p:nvPr/>
        </p:nvSpPr>
        <p:spPr>
          <a:xfrm>
            <a:off x="5604633" y="1031667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4</a:t>
            </a:r>
          </a:p>
        </p:txBody>
      </p:sp>
      <p:sp>
        <p:nvSpPr>
          <p:cNvPr id="149" name="Rectangle 79">
            <a:extLst>
              <a:ext uri="{FF2B5EF4-FFF2-40B4-BE49-F238E27FC236}">
                <a16:creationId xmlns:a16="http://schemas.microsoft.com/office/drawing/2014/main" id="{44955F0F-947F-477E-AB0A-6C5AC252F33E}"/>
              </a:ext>
            </a:extLst>
          </p:cNvPr>
          <p:cNvSpPr>
            <a:spLocks/>
          </p:cNvSpPr>
          <p:nvPr/>
        </p:nvSpPr>
        <p:spPr>
          <a:xfrm>
            <a:off x="6111094" y="1396786"/>
            <a:ext cx="3600000" cy="4431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Git integration with </a:t>
            </a:r>
            <a:r>
              <a:rPr lang="en-GB" sz="1600" dirty="0" err="1"/>
              <a:t>Github</a:t>
            </a:r>
            <a:r>
              <a:rPr lang="en-GB" sz="1600" dirty="0"/>
              <a:t> or Azure pipelines</a:t>
            </a:r>
          </a:p>
        </p:txBody>
      </p:sp>
      <p:sp>
        <p:nvSpPr>
          <p:cNvPr id="144" name="Rectangle 78">
            <a:extLst>
              <a:ext uri="{FF2B5EF4-FFF2-40B4-BE49-F238E27FC236}">
                <a16:creationId xmlns:a16="http://schemas.microsoft.com/office/drawing/2014/main" id="{E8C05564-5000-453A-AD53-4845A24CF8F1}"/>
              </a:ext>
            </a:extLst>
          </p:cNvPr>
          <p:cNvSpPr/>
          <p:nvPr/>
        </p:nvSpPr>
        <p:spPr>
          <a:xfrm>
            <a:off x="6111097" y="2541692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Database Objects</a:t>
            </a:r>
          </a:p>
        </p:txBody>
      </p:sp>
      <p:sp>
        <p:nvSpPr>
          <p:cNvPr id="145" name="RBContent19">
            <a:extLst>
              <a:ext uri="{FF2B5EF4-FFF2-40B4-BE49-F238E27FC236}">
                <a16:creationId xmlns:a16="http://schemas.microsoft.com/office/drawing/2014/main" id="{CABC8FCA-6855-4ADD-A0AA-A3FAC28D0430}"/>
              </a:ext>
            </a:extLst>
          </p:cNvPr>
          <p:cNvSpPr txBox="1"/>
          <p:nvPr/>
        </p:nvSpPr>
        <p:spPr>
          <a:xfrm>
            <a:off x="5604633" y="2470961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5</a:t>
            </a:r>
          </a:p>
        </p:txBody>
      </p:sp>
      <p:sp>
        <p:nvSpPr>
          <p:cNvPr id="146" name="Rectangle 79">
            <a:extLst>
              <a:ext uri="{FF2B5EF4-FFF2-40B4-BE49-F238E27FC236}">
                <a16:creationId xmlns:a16="http://schemas.microsoft.com/office/drawing/2014/main" id="{2DC5FC6C-A036-46B0-9D13-B7B9D946C6B0}"/>
              </a:ext>
            </a:extLst>
          </p:cNvPr>
          <p:cNvSpPr>
            <a:spLocks/>
          </p:cNvSpPr>
          <p:nvPr/>
        </p:nvSpPr>
        <p:spPr>
          <a:xfrm>
            <a:off x="6111094" y="2836080"/>
            <a:ext cx="3600000" cy="71609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chemas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Tables and Views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tore procedures</a:t>
            </a:r>
          </a:p>
        </p:txBody>
      </p:sp>
      <p:sp>
        <p:nvSpPr>
          <p:cNvPr id="141" name="Rectangle 78">
            <a:extLst>
              <a:ext uri="{FF2B5EF4-FFF2-40B4-BE49-F238E27FC236}">
                <a16:creationId xmlns:a16="http://schemas.microsoft.com/office/drawing/2014/main" id="{652F5147-0CB5-4623-A0EE-88452BCCF891}"/>
              </a:ext>
            </a:extLst>
          </p:cNvPr>
          <p:cNvSpPr/>
          <p:nvPr/>
        </p:nvSpPr>
        <p:spPr>
          <a:xfrm>
            <a:off x="6111097" y="3980986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Synapse Pipelines and activities</a:t>
            </a:r>
          </a:p>
        </p:txBody>
      </p:sp>
      <p:sp>
        <p:nvSpPr>
          <p:cNvPr id="142" name="RBContent19">
            <a:extLst>
              <a:ext uri="{FF2B5EF4-FFF2-40B4-BE49-F238E27FC236}">
                <a16:creationId xmlns:a16="http://schemas.microsoft.com/office/drawing/2014/main" id="{D691A870-B345-4F06-A20B-DDB129E0482F}"/>
              </a:ext>
            </a:extLst>
          </p:cNvPr>
          <p:cNvSpPr txBox="1"/>
          <p:nvPr/>
        </p:nvSpPr>
        <p:spPr>
          <a:xfrm>
            <a:off x="5604633" y="3910255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6</a:t>
            </a:r>
          </a:p>
        </p:txBody>
      </p:sp>
      <p:sp>
        <p:nvSpPr>
          <p:cNvPr id="143" name="Rectangle 79">
            <a:extLst>
              <a:ext uri="{FF2B5EF4-FFF2-40B4-BE49-F238E27FC236}">
                <a16:creationId xmlns:a16="http://schemas.microsoft.com/office/drawing/2014/main" id="{C8763944-7F66-4077-9045-DB6718EEEBE7}"/>
              </a:ext>
            </a:extLst>
          </p:cNvPr>
          <p:cNvSpPr>
            <a:spLocks/>
          </p:cNvSpPr>
          <p:nvPr/>
        </p:nvSpPr>
        <p:spPr>
          <a:xfrm>
            <a:off x="6111094" y="4275374"/>
            <a:ext cx="3600000" cy="4431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Orchestrate ETL pipelines using components / activities</a:t>
            </a:r>
          </a:p>
        </p:txBody>
      </p:sp>
      <p:sp>
        <p:nvSpPr>
          <p:cNvPr id="28" name="Rectangle 78">
            <a:extLst>
              <a:ext uri="{FF2B5EF4-FFF2-40B4-BE49-F238E27FC236}">
                <a16:creationId xmlns:a16="http://schemas.microsoft.com/office/drawing/2014/main" id="{02B53C01-45B3-4DB1-BAFF-332B6DE8B138}"/>
              </a:ext>
            </a:extLst>
          </p:cNvPr>
          <p:cNvSpPr/>
          <p:nvPr/>
        </p:nvSpPr>
        <p:spPr>
          <a:xfrm>
            <a:off x="6111097" y="1098024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Version Control with Git</a:t>
            </a:r>
          </a:p>
        </p:txBody>
      </p:sp>
      <p:sp>
        <p:nvSpPr>
          <p:cNvPr id="29" name="Content Placeholder 14">
            <a:extLst>
              <a:ext uri="{FF2B5EF4-FFF2-40B4-BE49-F238E27FC236}">
                <a16:creationId xmlns:a16="http://schemas.microsoft.com/office/drawing/2014/main" id="{0CA8A783-592A-4057-BCA0-D27E6D0ACC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682" y="6028266"/>
            <a:ext cx="11460635" cy="221803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21327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9D6C2F-5BDE-7E46-ADC6-37746DF15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67964B-47BA-1344-BB0B-16010B9A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Components – Copy Data Activity</a:t>
            </a:r>
          </a:p>
        </p:txBody>
      </p:sp>
      <p:pic>
        <p:nvPicPr>
          <p:cNvPr id="51" name="Content Placeholder 50" descr="A close-up of a message&#10;&#10;Description automatically generated">
            <a:extLst>
              <a:ext uri="{FF2B5EF4-FFF2-40B4-BE49-F238E27FC236}">
                <a16:creationId xmlns:a16="http://schemas.microsoft.com/office/drawing/2014/main" id="{CDFECDD7-1CA6-74A0-C1FF-D6936A44431C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9" r="2800" b="6024"/>
          <a:stretch/>
        </p:blipFill>
        <p:spPr>
          <a:xfrm>
            <a:off x="6317976" y="2117711"/>
            <a:ext cx="4832954" cy="2169281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A81093-D903-EF46-B9C6-E75A485A32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565DFB-5094-3B4E-AC26-288C3AFEBC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Copy data from one location to another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96D04B1-D868-AF4E-9475-44487A550B3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2C1FE3B-AB8F-4B93-551D-6E2DE713C661}"/>
              </a:ext>
            </a:extLst>
          </p:cNvPr>
          <p:cNvSpPr txBox="1"/>
          <p:nvPr/>
        </p:nvSpPr>
        <p:spPr>
          <a:xfrm>
            <a:off x="460339" y="2102191"/>
            <a:ext cx="5413687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61616"/>
                </a:solidFill>
              </a:rPr>
              <a:t>From </a:t>
            </a:r>
            <a:r>
              <a:rPr lang="en-GB" b="0" i="0" dirty="0">
                <a:solidFill>
                  <a:srgbClr val="161616"/>
                </a:solidFill>
                <a:effectLst/>
              </a:rPr>
              <a:t>SQL Server database to Storage account in Parquet format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61616"/>
                </a:solidFill>
                <a:effectLst/>
              </a:rPr>
              <a:t>Copy text files (CSV) format from an on-premises file system and write Storage account in Avro format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61616"/>
                </a:solidFill>
                <a:effectLst/>
              </a:rPr>
              <a:t>Copy data from Storage account to SQL Pool</a:t>
            </a:r>
          </a:p>
        </p:txBody>
      </p:sp>
    </p:spTree>
    <p:extLst>
      <p:ext uri="{BB962C8B-B14F-4D97-AF65-F5344CB8AC3E}">
        <p14:creationId xmlns:p14="http://schemas.microsoft.com/office/powerpoint/2010/main" val="6944030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9D6C2F-5BDE-7E46-ADC6-37746DF15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67964B-47BA-1344-BB0B-16010B9A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Components – Notebook Activ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A81093-D903-EF46-B9C6-E75A485A32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565DFB-5094-3B4E-AC26-288C3AFEBC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Run a Notebook on a Spark Pool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96D04B1-D868-AF4E-9475-44487A550B3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2C1FE3B-AB8F-4B93-551D-6E2DE713C661}"/>
              </a:ext>
            </a:extLst>
          </p:cNvPr>
          <p:cNvSpPr txBox="1"/>
          <p:nvPr/>
        </p:nvSpPr>
        <p:spPr>
          <a:xfrm>
            <a:off x="460339" y="2307066"/>
            <a:ext cx="541368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61616"/>
                </a:solidFill>
              </a:rPr>
              <a:t>Process data in Storage account using </a:t>
            </a:r>
            <a:r>
              <a:rPr lang="en-GB" dirty="0" err="1">
                <a:solidFill>
                  <a:srgbClr val="161616"/>
                </a:solidFill>
              </a:rPr>
              <a:t>Pyspark</a:t>
            </a:r>
            <a:r>
              <a:rPr lang="en-GB" dirty="0">
                <a:solidFill>
                  <a:srgbClr val="161616"/>
                </a:solidFill>
              </a:rPr>
              <a:t> and Pandas</a:t>
            </a: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61616"/>
                </a:solidFill>
                <a:effectLst/>
              </a:rPr>
              <a:t>Save data to storage account using the </a:t>
            </a:r>
            <a:r>
              <a:rPr lang="en-GB" b="0" i="0" dirty="0" err="1">
                <a:solidFill>
                  <a:srgbClr val="161616"/>
                </a:solidFill>
                <a:effectLst/>
              </a:rPr>
              <a:t>abfss</a:t>
            </a:r>
            <a:r>
              <a:rPr lang="en-GB" b="0" i="0" dirty="0">
                <a:solidFill>
                  <a:srgbClr val="161616"/>
                </a:solidFill>
                <a:effectLst/>
              </a:rPr>
              <a:t> protocol</a:t>
            </a:r>
            <a:r>
              <a:rPr lang="en-GB" dirty="0">
                <a:solidFill>
                  <a:srgbClr val="161616"/>
                </a:solidFill>
              </a:rPr>
              <a:t> (managed identity of synapse requires Storage Blob Contributor IAM permission)</a:t>
            </a:r>
            <a:endParaRPr lang="en-GB" b="0" i="0" dirty="0">
              <a:solidFill>
                <a:srgbClr val="161616"/>
              </a:solidFill>
              <a:effectLst/>
            </a:endParaRPr>
          </a:p>
        </p:txBody>
      </p:sp>
      <p:pic>
        <p:nvPicPr>
          <p:cNvPr id="9" name="Content Placeholder 8" descr="A close-up of a message&#10;&#10;Description automatically generated">
            <a:extLst>
              <a:ext uri="{FF2B5EF4-FFF2-40B4-BE49-F238E27FC236}">
                <a16:creationId xmlns:a16="http://schemas.microsoft.com/office/drawing/2014/main" id="{69E1C8AC-CF76-FF67-3CD9-0AD227358B2E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3481" y="2055336"/>
            <a:ext cx="5058180" cy="2403533"/>
          </a:xfrm>
        </p:spPr>
      </p:pic>
    </p:spTree>
    <p:extLst>
      <p:ext uri="{BB962C8B-B14F-4D97-AF65-F5344CB8AC3E}">
        <p14:creationId xmlns:p14="http://schemas.microsoft.com/office/powerpoint/2010/main" val="29095265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9D6C2F-5BDE-7E46-ADC6-37746DF15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67964B-47BA-1344-BB0B-16010B9A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Components – Stored Procedure Activ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A81093-D903-EF46-B9C6-E75A485A32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565DFB-5094-3B4E-AC26-288C3AFEBC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Run a stored procedure in the Dedicated SQL pool</a:t>
            </a:r>
          </a:p>
        </p:txBody>
      </p:sp>
      <p:pic>
        <p:nvPicPr>
          <p:cNvPr id="5" name="Content Placeholder 4" descr="A close-up of a message&#10;&#10;Description automatically generated">
            <a:extLst>
              <a:ext uri="{FF2B5EF4-FFF2-40B4-BE49-F238E27FC236}">
                <a16:creationId xmlns:a16="http://schemas.microsoft.com/office/drawing/2014/main" id="{A696D594-B0BC-FE88-B75E-B6764A35A261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230" y="1999768"/>
            <a:ext cx="4665773" cy="2061624"/>
          </a:xfr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32C1FE3B-AB8F-4B93-551D-6E2DE713C661}"/>
              </a:ext>
            </a:extLst>
          </p:cNvPr>
          <p:cNvSpPr txBox="1"/>
          <p:nvPr/>
        </p:nvSpPr>
        <p:spPr>
          <a:xfrm>
            <a:off x="507841" y="2961539"/>
            <a:ext cx="541368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61616"/>
                </a:solidFill>
              </a:rPr>
              <a:t>Execute stored procedures written in TSQL in an ETL pipeline</a:t>
            </a:r>
          </a:p>
          <a:p>
            <a:pPr algn="l"/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399DF4F-EDEE-64E3-1060-5FD3317267D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60893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88F44-9B00-4F63-923A-FD02DAA6EC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TL Pipeline Demo – Developer Productivity Track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 descr="A person talking on a phone&#10;&#10;Description automatically generated">
            <a:extLst>
              <a:ext uri="{FF2B5EF4-FFF2-40B4-BE49-F238E27FC236}">
                <a16:creationId xmlns:a16="http://schemas.microsoft.com/office/drawing/2014/main" id="{0B1A882A-5CC5-BBE4-2C16-1C9DB2A841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363" y="1840674"/>
            <a:ext cx="6349838" cy="423322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8D867F2-C51E-D043-64A5-09E4A7EAF2DF}"/>
              </a:ext>
            </a:extLst>
          </p:cNvPr>
          <p:cNvSpPr txBox="1"/>
          <p:nvPr/>
        </p:nvSpPr>
        <p:spPr>
          <a:xfrm>
            <a:off x="304799" y="2274838"/>
            <a:ext cx="45482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161616"/>
                </a:solidFill>
              </a:rPr>
              <a:t>External data from Git and Jira is integrated into our Datawarehouse in Synapse.</a:t>
            </a:r>
          </a:p>
          <a:p>
            <a:endParaRPr lang="en-GB" dirty="0">
              <a:solidFill>
                <a:srgbClr val="161616"/>
              </a:solidFill>
            </a:endParaRPr>
          </a:p>
          <a:p>
            <a:r>
              <a:rPr lang="en-GB" dirty="0">
                <a:solidFill>
                  <a:srgbClr val="161616"/>
                </a:solidFill>
              </a:rPr>
              <a:t>Given information on our projects, developers and their activity on </a:t>
            </a:r>
            <a:r>
              <a:rPr lang="en-GB" dirty="0" err="1">
                <a:solidFill>
                  <a:srgbClr val="161616"/>
                </a:solidFill>
              </a:rPr>
              <a:t>Github</a:t>
            </a:r>
            <a:r>
              <a:rPr lang="en-GB" dirty="0">
                <a:solidFill>
                  <a:srgbClr val="161616"/>
                </a:solidFill>
              </a:rPr>
              <a:t> and Jira, KPIs are created to measure their productivity. </a:t>
            </a:r>
          </a:p>
          <a:p>
            <a:endParaRPr lang="en-DE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677F6512-1B00-9FA7-9CB9-55383099053E}"/>
              </a:ext>
            </a:extLst>
          </p:cNvPr>
          <p:cNvSpPr txBox="1">
            <a:spLocks/>
          </p:cNvSpPr>
          <p:nvPr/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b="1" u="none" kern="1200" noProof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77800" marR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Tx/>
              <a:buFont typeface="Arial" pitchFamily="34" charset="0"/>
              <a:buChar char="■"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355600" marR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Tx/>
              <a:buFont typeface="Arial" pitchFamily="34" charset="0"/>
              <a:buChar char="–"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534988" marR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Tx/>
              <a:buFont typeface="Arial" pitchFamily="34" charset="0"/>
              <a:buChar char="■"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cenario</a:t>
            </a:r>
          </a:p>
        </p:txBody>
      </p:sp>
    </p:spTree>
    <p:extLst>
      <p:ext uri="{BB962C8B-B14F-4D97-AF65-F5344CB8AC3E}">
        <p14:creationId xmlns:p14="http://schemas.microsoft.com/office/powerpoint/2010/main" val="20827029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88F44-9B00-4F63-923A-FD02DAA6EC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F10D06-7410-4023-B61D-17EE9BD43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GB" smtClean="0"/>
              <a:t>9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RD Diagra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7FFD8BF-2199-4BBE-A79B-25EA8306DE3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9" name="Content Placeholder 18" descr="ERD Diagram for Developer Productivity DWH">
            <a:extLst>
              <a:ext uri="{FF2B5EF4-FFF2-40B4-BE49-F238E27FC236}">
                <a16:creationId xmlns:a16="http://schemas.microsoft.com/office/drawing/2014/main" id="{9E15CC11-A68A-4B1A-79E2-9BD36A95692C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16" y="905881"/>
            <a:ext cx="8692449" cy="5046238"/>
          </a:xfrm>
        </p:spPr>
      </p:pic>
    </p:spTree>
    <p:extLst>
      <p:ext uri="{BB962C8B-B14F-4D97-AF65-F5344CB8AC3E}">
        <p14:creationId xmlns:p14="http://schemas.microsoft.com/office/powerpoint/2010/main" val="1277077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81000000000000005329E+00&quot;&gt;&lt;m_msothmcolidx val=&quot;0&quot;/&gt;&lt;m_rgb r=&quot;9F&quot; g=&quot;D8&quot; b=&quot;0E&quot;/&gt;&lt;m_nBrightness tagver0=&quot;26206&quot; tagname0=&quot;m_nBrightnessUNRECOGNIZED&quot; val=&quot;0&quot;/&gt;&lt;/elem&gt;&lt;elem m_fUsage=&quot;9.00000000000000022204E-01&quot;&gt;&lt;m_msothmcolidx val=&quot;0&quot;/&gt;&lt;m_rgb r=&quot;CD&quot; g=&quot;CD&quot; b=&quot;CD&quot;/&gt;&lt;m_nBrightness tagver0=&quot;26206&quot; tagname0=&quot;m_nBrightnessUNRECOGNIZED&quot; val=&quot;0&quot;/&gt;&lt;/elem&gt;&lt;elem m_fUsage=&quot;7.29000000000000092371E-01&quot;&gt;&lt;m_msothmcolidx val=&quot;0&quot;/&gt;&lt;m_rgb r=&quot;6D&quot; g=&quot;E2&quot; b=&quot;41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Kr2SfJSy2G5o8HW8St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Kr2SfJSy2G5o8HW8St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NeDeZQWqQKkproyqv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dP6po4QTipA3fGd54P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NeDeZQWqQKkproyqv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7mCijiSpW4PZl01j9Q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NeDeZQWqQKkproyqv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heme/theme1.xml><?xml version="1.0" encoding="utf-8"?>
<a:theme xmlns:a="http://schemas.openxmlformats.org/drawingml/2006/main" name="Master">
  <a:themeElements>
    <a:clrScheme name="ML Reply 1">
      <a:dk1>
        <a:srgbClr val="252625"/>
      </a:dk1>
      <a:lt1>
        <a:srgbClr val="FFFFFF"/>
      </a:lt1>
      <a:dk2>
        <a:srgbClr val="323556"/>
      </a:dk2>
      <a:lt2>
        <a:srgbClr val="C9C9E0"/>
      </a:lt2>
      <a:accent1>
        <a:srgbClr val="8B8DA8"/>
      </a:accent1>
      <a:accent2>
        <a:srgbClr val="919191"/>
      </a:accent2>
      <a:accent3>
        <a:srgbClr val="515373"/>
      </a:accent3>
      <a:accent4>
        <a:srgbClr val="3A3838"/>
      </a:accent4>
      <a:accent5>
        <a:srgbClr val="AEABAB"/>
      </a:accent5>
      <a:accent6>
        <a:srgbClr val="323555"/>
      </a:accent6>
      <a:hlink>
        <a:srgbClr val="252625"/>
      </a:hlink>
      <a:folHlink>
        <a:srgbClr val="323556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40DA48F075C5B4A97888B7494D83B0A" ma:contentTypeVersion="16" ma:contentTypeDescription="Ein neues Dokument erstellen." ma:contentTypeScope="" ma:versionID="55d89ee7cf9cecf4b6d79ddbfb7f969b">
  <xsd:schema xmlns:xsd="http://www.w3.org/2001/XMLSchema" xmlns:xs="http://www.w3.org/2001/XMLSchema" xmlns:p="http://schemas.microsoft.com/office/2006/metadata/properties" xmlns:ns2="3ed6e455-ac74-4dac-a85f-281444f13a89" xmlns:ns3="93dfb1fd-9939-48e8-b7f9-906c8dec5f83" targetNamespace="http://schemas.microsoft.com/office/2006/metadata/properties" ma:root="true" ma:fieldsID="6ed475055c095119b49f3dc8bc99bdfa" ns2:_="" ns3:_="">
    <xsd:import namespace="3ed6e455-ac74-4dac-a85f-281444f13a89"/>
    <xsd:import namespace="93dfb1fd-9939-48e8-b7f9-906c8dec5f8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d6e455-ac74-4dac-a85f-281444f13a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fa14d781-0189-441e-87ef-c208f41383c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dfb1fd-9939-48e8-b7f9-906c8dec5f8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fae4711-15c2-4032-ae7d-782264aaa624}" ma:internalName="TaxCatchAll" ma:showField="CatchAllData" ma:web="93dfb1fd-9939-48e8-b7f9-906c8dec5f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ed6e455-ac74-4dac-a85f-281444f13a89">
      <Terms xmlns="http://schemas.microsoft.com/office/infopath/2007/PartnerControls"/>
    </lcf76f155ced4ddcb4097134ff3c332f>
    <TaxCatchAll xmlns="93dfb1fd-9939-48e8-b7f9-906c8dec5f8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A9ABF1E-2E26-42AA-A243-3A1C081D27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ed6e455-ac74-4dac-a85f-281444f13a89"/>
    <ds:schemaRef ds:uri="93dfb1fd-9939-48e8-b7f9-906c8dec5f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7C53C13-48C7-4544-93BF-9003A9BB3E88}">
  <ds:schemaRefs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3ed6e455-ac74-4dac-a85f-281444f13a89"/>
    <ds:schemaRef ds:uri="http://schemas.openxmlformats.org/package/2006/metadata/core-properties"/>
    <ds:schemaRef ds:uri="93dfb1fd-9939-48e8-b7f9-906c8dec5f8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E225052-F2B8-49FC-A412-5D27ABF231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020</TotalTime>
  <Words>560</Words>
  <Application>Microsoft Macintosh PowerPoint</Application>
  <PresentationFormat>Widescreen</PresentationFormat>
  <Paragraphs>108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Arial Black</vt:lpstr>
      <vt:lpstr>Calibri</vt:lpstr>
      <vt:lpstr>Wingdings</vt:lpstr>
      <vt:lpstr>Master</vt:lpstr>
      <vt:lpstr>think-cell Folie</vt:lpstr>
      <vt:lpstr>Developing data pipelines with Azure synapse</vt:lpstr>
      <vt:lpstr>Agenda</vt:lpstr>
      <vt:lpstr>Big Data Integration with Azure Synapse </vt:lpstr>
      <vt:lpstr>Azure Synapse Features</vt:lpstr>
      <vt:lpstr>Pipeline Components – Copy Data Activity</vt:lpstr>
      <vt:lpstr>Pipeline Components – Notebook Activity</vt:lpstr>
      <vt:lpstr>Pipeline Components – Stored Procedure Activity</vt:lpstr>
      <vt:lpstr>ETL Pipeline Demo – Developer Productivity Tracking</vt:lpstr>
      <vt:lpstr>ERD Diagram</vt:lpstr>
      <vt:lpstr>Developer Productivity Pipeline for Jira Git Table</vt:lpstr>
      <vt:lpstr>Load CSV Pipeline for Developer and Project Tables</vt:lpstr>
      <vt:lpstr>Load CSV Pipeline Parameters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subject/>
  <dc:creator>Laura Woljem</dc:creator>
  <cp:keywords/>
  <dc:description/>
  <cp:lastModifiedBy>Temiloluwa Adeoti</cp:lastModifiedBy>
  <cp:revision>28</cp:revision>
  <dcterms:created xsi:type="dcterms:W3CDTF">2017-04-28T20:36:13Z</dcterms:created>
  <dcterms:modified xsi:type="dcterms:W3CDTF">2023-11-29T14:43:0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0DA48F075C5B4A97888B7494D83B0A</vt:lpwstr>
  </property>
  <property fmtid="{D5CDD505-2E9C-101B-9397-08002B2CF9AE}" pid="3" name="AuthorIds_UIVersion_512">
    <vt:lpwstr>6</vt:lpwstr>
  </property>
  <property fmtid="{D5CDD505-2E9C-101B-9397-08002B2CF9AE}" pid="4" name="MediaServiceImageTags">
    <vt:lpwstr/>
  </property>
</Properties>
</file>